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6.xml" ContentType="application/vnd.openxmlformats-officedocument.theme+xml"/>
  <Override PartName="/ppt/tags/tag1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3" r:id="rId4"/>
    <p:sldMasterId id="2147483801" r:id="rId5"/>
    <p:sldMasterId id="2147483771" r:id="rId6"/>
    <p:sldMasterId id="2147483745" r:id="rId7"/>
    <p:sldMasterId id="2147483731" r:id="rId8"/>
  </p:sldMasterIdLst>
  <p:notesMasterIdLst>
    <p:notesMasterId r:id="rId10"/>
  </p:notesMasterIdLst>
  <p:sldIdLst>
    <p:sldId id="2134806312" r:id="rId9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pening Slide / Placeholder" id="{887D9638-EEE8-4980-87C4-4E9C5F4AD359}">
          <p14:sldIdLst/>
        </p14:section>
        <p14:section name="Light Background" id="{F0E4CAE1-F75C-4BD5-A4F4-D293537A23CD}">
          <p14:sldIdLst>
            <p14:sldId id="213480631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C1DD653-9299-6A72-65E2-ED72E56BD566}" name="Hans-Erik Aronson" initials="HA" userId="ksh4BCQJ2K+IoH5Mvd8tkkrarguTkwYLKauagcvqccI=" providerId="None"/>
  <p188:author id="{89539FE2-25B7-DE21-D59F-5CE55D23EFC9}" name="Fergus McDonald" initials="FM" userId="S::Fergus.McDonald@hdruk.ac.uk::1f6ce0ca-9212-46d7-ab4b-f5e1a0f15a38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dy Slape" initials="JS" lastIdx="2" clrIdx="0">
    <p:extLst>
      <p:ext uri="{19B8F6BF-5375-455C-9EA6-DF929625EA0E}">
        <p15:presenceInfo xmlns:p15="http://schemas.microsoft.com/office/powerpoint/2012/main" userId="S::judy.slape@hdruk.ac.uk::9c181d9d-2357-4b23-ad46-ae5ba2362f12" providerId="AD"/>
      </p:ext>
    </p:extLst>
  </p:cmAuthor>
  <p:cmAuthor id="2" name="Sinduja Manohar" initials="SM" lastIdx="2" clrIdx="1">
    <p:extLst>
      <p:ext uri="{19B8F6BF-5375-455C-9EA6-DF929625EA0E}">
        <p15:presenceInfo xmlns:p15="http://schemas.microsoft.com/office/powerpoint/2012/main" userId="S::Sinduja.Manohar@hdruk.ac.uk::90a45009-b931-468a-91f9-0fbf475d14fc" providerId="AD"/>
      </p:ext>
    </p:extLst>
  </p:cmAuthor>
  <p:cmAuthor id="3" name="Gerry Reilly" initials="GR" lastIdx="1" clrIdx="2">
    <p:extLst>
      <p:ext uri="{19B8F6BF-5375-455C-9EA6-DF929625EA0E}">
        <p15:presenceInfo xmlns:p15="http://schemas.microsoft.com/office/powerpoint/2012/main" userId="S::Gerry.Reilly@hdruk.ac.uk::acdc02e3-cebf-4314-843b-d9fe0441cb96" providerId="AD"/>
      </p:ext>
    </p:extLst>
  </p:cmAuthor>
  <p:cmAuthor id="4" name="Michelle Amugi" initials="MA" lastIdx="6" clrIdx="3">
    <p:extLst>
      <p:ext uri="{19B8F6BF-5375-455C-9EA6-DF929625EA0E}">
        <p15:presenceInfo xmlns:p15="http://schemas.microsoft.com/office/powerpoint/2012/main" userId="qo0IgwOxQ/S4T6KGm70ythNCjBvfw/G1dne2Xu2scc0=" providerId="None"/>
      </p:ext>
    </p:extLst>
  </p:cmAuthor>
  <p:cmAuthor id="5" name="Elizabeth Waind" initials="EW" lastIdx="3" clrIdx="4">
    <p:extLst>
      <p:ext uri="{19B8F6BF-5375-455C-9EA6-DF929625EA0E}">
        <p15:presenceInfo xmlns:p15="http://schemas.microsoft.com/office/powerpoint/2012/main" userId="Uxzz5SKmJ12D81a6CKCATt1pcnuaQVhf5fY9VnmbBjI=" providerId="None"/>
      </p:ext>
    </p:extLst>
  </p:cmAuthor>
  <p:cmAuthor id="6" name="Fergus McDonald" initials="FM" lastIdx="2" clrIdx="5">
    <p:extLst>
      <p:ext uri="{19B8F6BF-5375-455C-9EA6-DF929625EA0E}">
        <p15:presenceInfo xmlns:p15="http://schemas.microsoft.com/office/powerpoint/2012/main" userId="S::Fergus.McDonald@hdruk.ac.uk::1f6ce0ca-9212-46d7-ab4b-f5e1a0f15a3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7CFF"/>
    <a:srgbClr val="282832"/>
    <a:srgbClr val="FAFAFA"/>
    <a:srgbClr val="FFFFFF"/>
    <a:srgbClr val="F79A03"/>
    <a:srgbClr val="F5C205"/>
    <a:srgbClr val="FEC62A"/>
    <a:srgbClr val="EEB500"/>
    <a:srgbClr val="AC8300"/>
    <a:srgbClr val="2E2D62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41F1346-D541-4FBF-A127-9C5E768E013C}" v="6" dt="2024-10-09T09:14:49.17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44" autoAdjust="0"/>
  </p:normalViewPr>
  <p:slideViewPr>
    <p:cSldViewPr snapToGrid="0" snapToObjects="1">
      <p:cViewPr varScale="1">
        <p:scale>
          <a:sx n="80" d="100"/>
          <a:sy n="80" d="100"/>
        </p:scale>
        <p:origin x="564" y="6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49" d="100"/>
          <a:sy n="49" d="100"/>
        </p:scale>
        <p:origin x="2910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lint Stewart" userId="ed308884-4951-4c52-aa91-417d787d47fd" providerId="ADAL" clId="{341F1346-D541-4FBF-A127-9C5E768E013C}"/>
    <pc:docChg chg="custSel delSld modSld modSection">
      <pc:chgData name="Balint Stewart" userId="ed308884-4951-4c52-aa91-417d787d47fd" providerId="ADAL" clId="{341F1346-D541-4FBF-A127-9C5E768E013C}" dt="2024-10-09T09:15:04.118" v="62" actId="207"/>
      <pc:docMkLst>
        <pc:docMk/>
      </pc:docMkLst>
      <pc:sldChg chg="addSp delSp modSp mod">
        <pc:chgData name="Balint Stewart" userId="ed308884-4951-4c52-aa91-417d787d47fd" providerId="ADAL" clId="{341F1346-D541-4FBF-A127-9C5E768E013C}" dt="2024-10-09T09:15:04.118" v="62" actId="207"/>
        <pc:sldMkLst>
          <pc:docMk/>
          <pc:sldMk cId="3497643315" sldId="2134806312"/>
        </pc:sldMkLst>
        <pc:spChg chg="del">
          <ac:chgData name="Balint Stewart" userId="ed308884-4951-4c52-aa91-417d787d47fd" providerId="ADAL" clId="{341F1346-D541-4FBF-A127-9C5E768E013C}" dt="2024-10-09T09:13:06.732" v="4" actId="478"/>
          <ac:spMkLst>
            <pc:docMk/>
            <pc:sldMk cId="3497643315" sldId="2134806312"/>
            <ac:spMk id="2" creationId="{58EAF36B-74CD-562F-9061-A6B77E9A9F63}"/>
          </ac:spMkLst>
        </pc:spChg>
        <pc:spChg chg="del">
          <ac:chgData name="Balint Stewart" userId="ed308884-4951-4c52-aa91-417d787d47fd" providerId="ADAL" clId="{341F1346-D541-4FBF-A127-9C5E768E013C}" dt="2024-10-09T09:13:05.843" v="1" actId="478"/>
          <ac:spMkLst>
            <pc:docMk/>
            <pc:sldMk cId="3497643315" sldId="2134806312"/>
            <ac:spMk id="4" creationId="{DF067323-4A1B-9BC6-FEAC-177329661B64}"/>
          </ac:spMkLst>
        </pc:spChg>
        <pc:spChg chg="add mod">
          <ac:chgData name="Balint Stewart" userId="ed308884-4951-4c52-aa91-417d787d47fd" providerId="ADAL" clId="{341F1346-D541-4FBF-A127-9C5E768E013C}" dt="2024-10-09T09:13:36.064" v="8" actId="1076"/>
          <ac:spMkLst>
            <pc:docMk/>
            <pc:sldMk cId="3497643315" sldId="2134806312"/>
            <ac:spMk id="8" creationId="{D998AD7E-A459-24C8-419B-1B71077B0383}"/>
          </ac:spMkLst>
        </pc:spChg>
        <pc:spChg chg="add mod">
          <ac:chgData name="Balint Stewart" userId="ed308884-4951-4c52-aa91-417d787d47fd" providerId="ADAL" clId="{341F1346-D541-4FBF-A127-9C5E768E013C}" dt="2024-10-09T09:13:36.064" v="8" actId="1076"/>
          <ac:spMkLst>
            <pc:docMk/>
            <pc:sldMk cId="3497643315" sldId="2134806312"/>
            <ac:spMk id="9" creationId="{50610CC8-77F8-E8E1-82D7-50F04F9A36DA}"/>
          </ac:spMkLst>
        </pc:spChg>
        <pc:spChg chg="add mod">
          <ac:chgData name="Balint Stewart" userId="ed308884-4951-4c52-aa91-417d787d47fd" providerId="ADAL" clId="{341F1346-D541-4FBF-A127-9C5E768E013C}" dt="2024-10-09T09:15:04.118" v="62" actId="207"/>
          <ac:spMkLst>
            <pc:docMk/>
            <pc:sldMk cId="3497643315" sldId="2134806312"/>
            <ac:spMk id="11" creationId="{C410BF12-EAE2-9E12-CBC1-03DF8775D57E}"/>
          </ac:spMkLst>
        </pc:spChg>
        <pc:spChg chg="add mod">
          <ac:chgData name="Balint Stewart" userId="ed308884-4951-4c52-aa91-417d787d47fd" providerId="ADAL" clId="{341F1346-D541-4FBF-A127-9C5E768E013C}" dt="2024-10-09T09:15:04.118" v="62" actId="207"/>
          <ac:spMkLst>
            <pc:docMk/>
            <pc:sldMk cId="3497643315" sldId="2134806312"/>
            <ac:spMk id="13" creationId="{1D4164D7-2958-C7B3-130A-D99127A57FE1}"/>
          </ac:spMkLst>
        </pc:spChg>
        <pc:spChg chg="add mod">
          <ac:chgData name="Balint Stewart" userId="ed308884-4951-4c52-aa91-417d787d47fd" providerId="ADAL" clId="{341F1346-D541-4FBF-A127-9C5E768E013C}" dt="2024-10-09T09:15:04.118" v="62" actId="207"/>
          <ac:spMkLst>
            <pc:docMk/>
            <pc:sldMk cId="3497643315" sldId="2134806312"/>
            <ac:spMk id="15" creationId="{98A286EA-1C1D-F2C8-401D-D516502A15BC}"/>
          </ac:spMkLst>
        </pc:spChg>
        <pc:spChg chg="add mod">
          <ac:chgData name="Balint Stewart" userId="ed308884-4951-4c52-aa91-417d787d47fd" providerId="ADAL" clId="{341F1346-D541-4FBF-A127-9C5E768E013C}" dt="2024-10-09T09:14:18.201" v="58" actId="20577"/>
          <ac:spMkLst>
            <pc:docMk/>
            <pc:sldMk cId="3497643315" sldId="2134806312"/>
            <ac:spMk id="18" creationId="{4026E099-B14E-C38D-41FF-818F93BA26F9}"/>
          </ac:spMkLst>
        </pc:spChg>
        <pc:graphicFrameChg chg="mod">
          <ac:chgData name="Balint Stewart" userId="ed308884-4951-4c52-aa91-417d787d47fd" providerId="ADAL" clId="{341F1346-D541-4FBF-A127-9C5E768E013C}" dt="2024-10-09T09:13:06.366" v="3"/>
          <ac:graphicFrameMkLst>
            <pc:docMk/>
            <pc:sldMk cId="3497643315" sldId="2134806312"/>
            <ac:graphicFrameMk id="5" creationId="{25AF82A4-72E9-403F-2669-5B26657C6DAA}"/>
          </ac:graphicFrameMkLst>
        </pc:graphicFrameChg>
        <pc:graphicFrameChg chg="add mod">
          <ac:chgData name="Balint Stewart" userId="ed308884-4951-4c52-aa91-417d787d47fd" providerId="ADAL" clId="{341F1346-D541-4FBF-A127-9C5E768E013C}" dt="2024-10-09T09:14:49.170" v="61" actId="207"/>
          <ac:graphicFrameMkLst>
            <pc:docMk/>
            <pc:sldMk cId="3497643315" sldId="2134806312"/>
            <ac:graphicFrameMk id="6" creationId="{B6351BF8-4E23-42BD-B571-F7DAE755E6F5}"/>
          </ac:graphicFrameMkLst>
        </pc:graphicFrameChg>
        <pc:picChg chg="add mod">
          <ac:chgData name="Balint Stewart" userId="ed308884-4951-4c52-aa91-417d787d47fd" providerId="ADAL" clId="{341F1346-D541-4FBF-A127-9C5E768E013C}" dt="2024-10-09T09:13:36.064" v="8" actId="1076"/>
          <ac:picMkLst>
            <pc:docMk/>
            <pc:sldMk cId="3497643315" sldId="2134806312"/>
            <ac:picMk id="7" creationId="{3FBA11E6-448B-4A8E-1816-3D841FEE1DDA}"/>
          </ac:picMkLst>
        </pc:picChg>
        <pc:picChg chg="add mod">
          <ac:chgData name="Balint Stewart" userId="ed308884-4951-4c52-aa91-417d787d47fd" providerId="ADAL" clId="{341F1346-D541-4FBF-A127-9C5E768E013C}" dt="2024-10-09T09:13:36.064" v="8" actId="1076"/>
          <ac:picMkLst>
            <pc:docMk/>
            <pc:sldMk cId="3497643315" sldId="2134806312"/>
            <ac:picMk id="10" creationId="{23F9C338-1A9C-ECAE-5A84-FE01F0601F92}"/>
          </ac:picMkLst>
        </pc:picChg>
        <pc:cxnChg chg="add mod">
          <ac:chgData name="Balint Stewart" userId="ed308884-4951-4c52-aa91-417d787d47fd" providerId="ADAL" clId="{341F1346-D541-4FBF-A127-9C5E768E013C}" dt="2024-10-09T09:13:36.064" v="8" actId="1076"/>
          <ac:cxnSpMkLst>
            <pc:docMk/>
            <pc:sldMk cId="3497643315" sldId="2134806312"/>
            <ac:cxnSpMk id="12" creationId="{E03874A1-734C-209E-183E-9F2FA7EC7C73}"/>
          </ac:cxnSpMkLst>
        </pc:cxnChg>
        <pc:cxnChg chg="add mod">
          <ac:chgData name="Balint Stewart" userId="ed308884-4951-4c52-aa91-417d787d47fd" providerId="ADAL" clId="{341F1346-D541-4FBF-A127-9C5E768E013C}" dt="2024-10-09T09:13:36.064" v="8" actId="1076"/>
          <ac:cxnSpMkLst>
            <pc:docMk/>
            <pc:sldMk cId="3497643315" sldId="2134806312"/>
            <ac:cxnSpMk id="14" creationId="{CD0E3A57-93D1-321D-5F11-E8DAC178C93F}"/>
          </ac:cxnSpMkLst>
        </pc:cxnChg>
        <pc:cxnChg chg="add mod">
          <ac:chgData name="Balint Stewart" userId="ed308884-4951-4c52-aa91-417d787d47fd" providerId="ADAL" clId="{341F1346-D541-4FBF-A127-9C5E768E013C}" dt="2024-10-09T09:13:36.064" v="8" actId="1076"/>
          <ac:cxnSpMkLst>
            <pc:docMk/>
            <pc:sldMk cId="3497643315" sldId="2134806312"/>
            <ac:cxnSpMk id="16" creationId="{12F21B8F-C81F-1E7C-E8F5-2904102CBCD3}"/>
          </ac:cxnSpMkLst>
        </pc:cxnChg>
        <pc:cxnChg chg="add mod">
          <ac:chgData name="Balint Stewart" userId="ed308884-4951-4c52-aa91-417d787d47fd" providerId="ADAL" clId="{341F1346-D541-4FBF-A127-9C5E768E013C}" dt="2024-10-09T09:13:36.064" v="8" actId="1076"/>
          <ac:cxnSpMkLst>
            <pc:docMk/>
            <pc:sldMk cId="3497643315" sldId="2134806312"/>
            <ac:cxnSpMk id="17" creationId="{CA751B89-98A2-745E-FC36-64321DF3C927}"/>
          </ac:cxnSpMkLst>
        </pc:cxnChg>
      </pc:sldChg>
      <pc:sldChg chg="del">
        <pc:chgData name="Balint Stewart" userId="ed308884-4951-4c52-aa91-417d787d47fd" providerId="ADAL" clId="{341F1346-D541-4FBF-A127-9C5E768E013C}" dt="2024-10-09T09:13:01.544" v="0" actId="47"/>
        <pc:sldMkLst>
          <pc:docMk/>
          <pc:sldMk cId="764436742" sldId="2134806316"/>
        </pc:sldMkLst>
      </pc:sldChg>
      <pc:sldChg chg="del">
        <pc:chgData name="Balint Stewart" userId="ed308884-4951-4c52-aa91-417d787d47fd" providerId="ADAL" clId="{341F1346-D541-4FBF-A127-9C5E768E013C}" dt="2024-10-09T09:13:07.948" v="5" actId="47"/>
        <pc:sldMkLst>
          <pc:docMk/>
          <pc:sldMk cId="2803218990" sldId="2134806327"/>
        </pc:sldMkLst>
      </pc:sldChg>
      <pc:sldChg chg="del">
        <pc:chgData name="Balint Stewart" userId="ed308884-4951-4c52-aa91-417d787d47fd" providerId="ADAL" clId="{341F1346-D541-4FBF-A127-9C5E768E013C}" dt="2024-10-09T09:13:09.303" v="6" actId="47"/>
        <pc:sldMkLst>
          <pc:docMk/>
          <pc:sldMk cId="3220618841" sldId="2134806329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DCF4535-E39E-4509-8945-858AAE6261D8}" type="doc">
      <dgm:prSet loTypeId="urn:microsoft.com/office/officeart/2005/8/layout/process1" loCatId="process" qsTypeId="urn:microsoft.com/office/officeart/2005/8/quickstyle/simple2" qsCatId="simple" csTypeId="urn:microsoft.com/office/officeart/2005/8/colors/accent2_2" csCatId="accent2" phldr="1"/>
      <dgm:spPr/>
    </dgm:pt>
    <dgm:pt modelId="{66C5A2A3-F92E-4339-8B9E-B48679D0AB80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2000" dirty="0"/>
            <a:t>1. IG/WG charter proposal submission</a:t>
          </a:r>
        </a:p>
      </dgm:t>
    </dgm:pt>
    <dgm:pt modelId="{9BFD4400-70AC-4683-8F94-115C9C0052AF}" type="parTrans" cxnId="{7D28F51C-85B0-4E53-B696-869353B52553}">
      <dgm:prSet/>
      <dgm:spPr/>
      <dgm:t>
        <a:bodyPr/>
        <a:lstStyle/>
        <a:p>
          <a:endParaRPr lang="en-GB" sz="1600"/>
        </a:p>
      </dgm:t>
    </dgm:pt>
    <dgm:pt modelId="{E56B9528-BCBB-40A2-8E22-962DCF3D7AEA}" type="sibTrans" cxnId="{7D28F51C-85B0-4E53-B696-869353B52553}">
      <dgm:prSet custT="1"/>
      <dgm:spPr/>
      <dgm:t>
        <a:bodyPr/>
        <a:lstStyle/>
        <a:p>
          <a:endParaRPr lang="en-GB" sz="1600"/>
        </a:p>
      </dgm:t>
    </dgm:pt>
    <dgm:pt modelId="{A4AA5B0D-3DC1-4226-8383-BE5FC1854B22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2000"/>
            <a:t>2. Delivery Team Review</a:t>
          </a:r>
        </a:p>
      </dgm:t>
    </dgm:pt>
    <dgm:pt modelId="{8499E722-7B23-4A99-A7B2-6891CD171F65}" type="parTrans" cxnId="{75FBE3DC-01FC-48CC-9034-4B769EF5C6F2}">
      <dgm:prSet/>
      <dgm:spPr/>
      <dgm:t>
        <a:bodyPr/>
        <a:lstStyle/>
        <a:p>
          <a:endParaRPr lang="en-GB" sz="1600"/>
        </a:p>
      </dgm:t>
    </dgm:pt>
    <dgm:pt modelId="{F4637184-A5D3-4189-B2BD-B9F9EB1AADDF}" type="sibTrans" cxnId="{75FBE3DC-01FC-48CC-9034-4B769EF5C6F2}">
      <dgm:prSet custT="1"/>
      <dgm:spPr/>
      <dgm:t>
        <a:bodyPr/>
        <a:lstStyle/>
        <a:p>
          <a:endParaRPr lang="en-GB" sz="1600"/>
        </a:p>
      </dgm:t>
    </dgm:pt>
    <dgm:pt modelId="{4264B830-02A3-4FEA-93C7-AC174E775FB0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2000"/>
            <a:t>3. Operational Management Group Review</a:t>
          </a:r>
        </a:p>
      </dgm:t>
    </dgm:pt>
    <dgm:pt modelId="{E1A4C5C6-8B3D-4262-9CDA-B1205FDE46B9}" type="parTrans" cxnId="{6D7DA148-7098-4395-A5B8-287ED9C77818}">
      <dgm:prSet/>
      <dgm:spPr/>
      <dgm:t>
        <a:bodyPr/>
        <a:lstStyle/>
        <a:p>
          <a:endParaRPr lang="en-GB" sz="1600"/>
        </a:p>
      </dgm:t>
    </dgm:pt>
    <dgm:pt modelId="{55AA69CB-838C-4E34-9112-2C5A5435BEC0}" type="sibTrans" cxnId="{6D7DA148-7098-4395-A5B8-287ED9C77818}">
      <dgm:prSet custT="1"/>
      <dgm:spPr/>
      <dgm:t>
        <a:bodyPr/>
        <a:lstStyle/>
        <a:p>
          <a:endParaRPr lang="en-GB" sz="1600"/>
        </a:p>
      </dgm:t>
    </dgm:pt>
    <dgm:pt modelId="{2F8A84BE-746D-4851-924B-B65A02815B5E}">
      <dgm:prSet phldrT="[Text]" custT="1"/>
      <dgm:spPr>
        <a:solidFill>
          <a:schemeClr val="tx1"/>
        </a:solidFill>
      </dgm:spPr>
      <dgm:t>
        <a:bodyPr/>
        <a:lstStyle/>
        <a:p>
          <a:r>
            <a:rPr lang="en-GB" sz="2000" dirty="0"/>
            <a:t>4. IG/WG endorsement</a:t>
          </a:r>
        </a:p>
      </dgm:t>
    </dgm:pt>
    <dgm:pt modelId="{638BB2F4-93B1-4E74-8F48-5AAB0DE4FFAA}" type="parTrans" cxnId="{300C1D03-5A5E-4817-A664-53BBB6E528A7}">
      <dgm:prSet/>
      <dgm:spPr/>
      <dgm:t>
        <a:bodyPr/>
        <a:lstStyle/>
        <a:p>
          <a:endParaRPr lang="en-GB" sz="1600"/>
        </a:p>
      </dgm:t>
    </dgm:pt>
    <dgm:pt modelId="{48A3574F-8041-479F-9B62-4425A95A8DD9}" type="sibTrans" cxnId="{300C1D03-5A5E-4817-A664-53BBB6E528A7}">
      <dgm:prSet/>
      <dgm:spPr/>
      <dgm:t>
        <a:bodyPr/>
        <a:lstStyle/>
        <a:p>
          <a:endParaRPr lang="en-GB" sz="1600"/>
        </a:p>
      </dgm:t>
    </dgm:pt>
    <dgm:pt modelId="{4767DC80-9505-4E7E-A5E2-E61815BE09E0}" type="pres">
      <dgm:prSet presAssocID="{0DCF4535-E39E-4509-8945-858AAE6261D8}" presName="Name0" presStyleCnt="0">
        <dgm:presLayoutVars>
          <dgm:dir/>
          <dgm:resizeHandles val="exact"/>
        </dgm:presLayoutVars>
      </dgm:prSet>
      <dgm:spPr/>
    </dgm:pt>
    <dgm:pt modelId="{324E15D6-18B2-4C38-A1CF-DDEF956569D6}" type="pres">
      <dgm:prSet presAssocID="{66C5A2A3-F92E-4339-8B9E-B48679D0AB80}" presName="node" presStyleLbl="node1" presStyleIdx="0" presStyleCnt="4">
        <dgm:presLayoutVars>
          <dgm:bulletEnabled val="1"/>
        </dgm:presLayoutVars>
      </dgm:prSet>
      <dgm:spPr/>
    </dgm:pt>
    <dgm:pt modelId="{1F038B8E-763B-4EAE-BA46-CFEB8072E7BC}" type="pres">
      <dgm:prSet presAssocID="{E56B9528-BCBB-40A2-8E22-962DCF3D7AEA}" presName="sibTrans" presStyleLbl="sibTrans2D1" presStyleIdx="0" presStyleCnt="3"/>
      <dgm:spPr/>
    </dgm:pt>
    <dgm:pt modelId="{80979177-60B5-4BE4-BCC8-7F6710848BC3}" type="pres">
      <dgm:prSet presAssocID="{E56B9528-BCBB-40A2-8E22-962DCF3D7AEA}" presName="connectorText" presStyleLbl="sibTrans2D1" presStyleIdx="0" presStyleCnt="3"/>
      <dgm:spPr/>
    </dgm:pt>
    <dgm:pt modelId="{8E3B14BF-9880-4BE3-BC71-6FE59D082622}" type="pres">
      <dgm:prSet presAssocID="{A4AA5B0D-3DC1-4226-8383-BE5FC1854B22}" presName="node" presStyleLbl="node1" presStyleIdx="1" presStyleCnt="4">
        <dgm:presLayoutVars>
          <dgm:bulletEnabled val="1"/>
        </dgm:presLayoutVars>
      </dgm:prSet>
      <dgm:spPr/>
    </dgm:pt>
    <dgm:pt modelId="{CC673F56-438A-40FF-A00B-CF8D132A5FD5}" type="pres">
      <dgm:prSet presAssocID="{F4637184-A5D3-4189-B2BD-B9F9EB1AADDF}" presName="sibTrans" presStyleLbl="sibTrans2D1" presStyleIdx="1" presStyleCnt="3"/>
      <dgm:spPr/>
    </dgm:pt>
    <dgm:pt modelId="{44C978D6-A01A-4645-8C0A-2117AD45FBD8}" type="pres">
      <dgm:prSet presAssocID="{F4637184-A5D3-4189-B2BD-B9F9EB1AADDF}" presName="connectorText" presStyleLbl="sibTrans2D1" presStyleIdx="1" presStyleCnt="3"/>
      <dgm:spPr/>
    </dgm:pt>
    <dgm:pt modelId="{64CF2870-6BA9-41AE-90B8-9B04EEDAA95A}" type="pres">
      <dgm:prSet presAssocID="{4264B830-02A3-4FEA-93C7-AC174E775FB0}" presName="node" presStyleLbl="node1" presStyleIdx="2" presStyleCnt="4">
        <dgm:presLayoutVars>
          <dgm:bulletEnabled val="1"/>
        </dgm:presLayoutVars>
      </dgm:prSet>
      <dgm:spPr/>
    </dgm:pt>
    <dgm:pt modelId="{746856FA-783E-4748-9B33-68FA684C9423}" type="pres">
      <dgm:prSet presAssocID="{55AA69CB-838C-4E34-9112-2C5A5435BEC0}" presName="sibTrans" presStyleLbl="sibTrans2D1" presStyleIdx="2" presStyleCnt="3"/>
      <dgm:spPr/>
    </dgm:pt>
    <dgm:pt modelId="{33B66564-6E03-4C56-ADF2-3DE54B35079A}" type="pres">
      <dgm:prSet presAssocID="{55AA69CB-838C-4E34-9112-2C5A5435BEC0}" presName="connectorText" presStyleLbl="sibTrans2D1" presStyleIdx="2" presStyleCnt="3"/>
      <dgm:spPr/>
    </dgm:pt>
    <dgm:pt modelId="{932F7419-5FE1-4F22-A1F6-F5E5F725D4E7}" type="pres">
      <dgm:prSet presAssocID="{2F8A84BE-746D-4851-924B-B65A02815B5E}" presName="node" presStyleLbl="node1" presStyleIdx="3" presStyleCnt="4">
        <dgm:presLayoutVars>
          <dgm:bulletEnabled val="1"/>
        </dgm:presLayoutVars>
      </dgm:prSet>
      <dgm:spPr/>
    </dgm:pt>
  </dgm:ptLst>
  <dgm:cxnLst>
    <dgm:cxn modelId="{300C1D03-5A5E-4817-A664-53BBB6E528A7}" srcId="{0DCF4535-E39E-4509-8945-858AAE6261D8}" destId="{2F8A84BE-746D-4851-924B-B65A02815B5E}" srcOrd="3" destOrd="0" parTransId="{638BB2F4-93B1-4E74-8F48-5AAB0DE4FFAA}" sibTransId="{48A3574F-8041-479F-9B62-4425A95A8DD9}"/>
    <dgm:cxn modelId="{7D28F51C-85B0-4E53-B696-869353B52553}" srcId="{0DCF4535-E39E-4509-8945-858AAE6261D8}" destId="{66C5A2A3-F92E-4339-8B9E-B48679D0AB80}" srcOrd="0" destOrd="0" parTransId="{9BFD4400-70AC-4683-8F94-115C9C0052AF}" sibTransId="{E56B9528-BCBB-40A2-8E22-962DCF3D7AEA}"/>
    <dgm:cxn modelId="{E624B21D-A4DB-4A24-9693-1D0970B7C321}" type="presOf" srcId="{55AA69CB-838C-4E34-9112-2C5A5435BEC0}" destId="{33B66564-6E03-4C56-ADF2-3DE54B35079A}" srcOrd="1" destOrd="0" presId="urn:microsoft.com/office/officeart/2005/8/layout/process1"/>
    <dgm:cxn modelId="{78F7E436-3B27-4067-BDA6-9ABC8D48B96B}" type="presOf" srcId="{4264B830-02A3-4FEA-93C7-AC174E775FB0}" destId="{64CF2870-6BA9-41AE-90B8-9B04EEDAA95A}" srcOrd="0" destOrd="0" presId="urn:microsoft.com/office/officeart/2005/8/layout/process1"/>
    <dgm:cxn modelId="{8FF2A75E-E430-45B1-B391-B8F4C37CBE2B}" type="presOf" srcId="{E56B9528-BCBB-40A2-8E22-962DCF3D7AEA}" destId="{80979177-60B5-4BE4-BCC8-7F6710848BC3}" srcOrd="1" destOrd="0" presId="urn:microsoft.com/office/officeart/2005/8/layout/process1"/>
    <dgm:cxn modelId="{323C9642-7B66-48C1-B395-D8F482AB8C3E}" type="presOf" srcId="{F4637184-A5D3-4189-B2BD-B9F9EB1AADDF}" destId="{44C978D6-A01A-4645-8C0A-2117AD45FBD8}" srcOrd="1" destOrd="0" presId="urn:microsoft.com/office/officeart/2005/8/layout/process1"/>
    <dgm:cxn modelId="{DCDA8466-AE02-4187-9A3E-02AC2A4924B8}" type="presOf" srcId="{2F8A84BE-746D-4851-924B-B65A02815B5E}" destId="{932F7419-5FE1-4F22-A1F6-F5E5F725D4E7}" srcOrd="0" destOrd="0" presId="urn:microsoft.com/office/officeart/2005/8/layout/process1"/>
    <dgm:cxn modelId="{6D7DA148-7098-4395-A5B8-287ED9C77818}" srcId="{0DCF4535-E39E-4509-8945-858AAE6261D8}" destId="{4264B830-02A3-4FEA-93C7-AC174E775FB0}" srcOrd="2" destOrd="0" parTransId="{E1A4C5C6-8B3D-4262-9CDA-B1205FDE46B9}" sibTransId="{55AA69CB-838C-4E34-9112-2C5A5435BEC0}"/>
    <dgm:cxn modelId="{BD152F4C-827C-4FA4-AD46-E1E07E62C66C}" type="presOf" srcId="{F4637184-A5D3-4189-B2BD-B9F9EB1AADDF}" destId="{CC673F56-438A-40FF-A00B-CF8D132A5FD5}" srcOrd="0" destOrd="0" presId="urn:microsoft.com/office/officeart/2005/8/layout/process1"/>
    <dgm:cxn modelId="{1038E670-9DD7-4EDF-A3AD-6C35EF4359E6}" type="presOf" srcId="{55AA69CB-838C-4E34-9112-2C5A5435BEC0}" destId="{746856FA-783E-4748-9B33-68FA684C9423}" srcOrd="0" destOrd="0" presId="urn:microsoft.com/office/officeart/2005/8/layout/process1"/>
    <dgm:cxn modelId="{8C7BE852-6595-480E-AC9E-3364A9F06074}" type="presOf" srcId="{E56B9528-BCBB-40A2-8E22-962DCF3D7AEA}" destId="{1F038B8E-763B-4EAE-BA46-CFEB8072E7BC}" srcOrd="0" destOrd="0" presId="urn:microsoft.com/office/officeart/2005/8/layout/process1"/>
    <dgm:cxn modelId="{16B6CA5A-A820-478E-9EA3-EFE0D6A5A1F3}" type="presOf" srcId="{66C5A2A3-F92E-4339-8B9E-B48679D0AB80}" destId="{324E15D6-18B2-4C38-A1CF-DDEF956569D6}" srcOrd="0" destOrd="0" presId="urn:microsoft.com/office/officeart/2005/8/layout/process1"/>
    <dgm:cxn modelId="{C81706D1-135E-442F-B5BC-BD14C7E3D8DB}" type="presOf" srcId="{A4AA5B0D-3DC1-4226-8383-BE5FC1854B22}" destId="{8E3B14BF-9880-4BE3-BC71-6FE59D082622}" srcOrd="0" destOrd="0" presId="urn:microsoft.com/office/officeart/2005/8/layout/process1"/>
    <dgm:cxn modelId="{75FBE3DC-01FC-48CC-9034-4B769EF5C6F2}" srcId="{0DCF4535-E39E-4509-8945-858AAE6261D8}" destId="{A4AA5B0D-3DC1-4226-8383-BE5FC1854B22}" srcOrd="1" destOrd="0" parTransId="{8499E722-7B23-4A99-A7B2-6891CD171F65}" sibTransId="{F4637184-A5D3-4189-B2BD-B9F9EB1AADDF}"/>
    <dgm:cxn modelId="{712C7EDD-3718-4382-9815-1DEFA02172A6}" type="presOf" srcId="{0DCF4535-E39E-4509-8945-858AAE6261D8}" destId="{4767DC80-9505-4E7E-A5E2-E61815BE09E0}" srcOrd="0" destOrd="0" presId="urn:microsoft.com/office/officeart/2005/8/layout/process1"/>
    <dgm:cxn modelId="{EEF5C519-E775-4A1D-9ACB-F1E73089D639}" type="presParOf" srcId="{4767DC80-9505-4E7E-A5E2-E61815BE09E0}" destId="{324E15D6-18B2-4C38-A1CF-DDEF956569D6}" srcOrd="0" destOrd="0" presId="urn:microsoft.com/office/officeart/2005/8/layout/process1"/>
    <dgm:cxn modelId="{5D9B2F93-3FBA-407B-9CFB-F9B5BB24E08B}" type="presParOf" srcId="{4767DC80-9505-4E7E-A5E2-E61815BE09E0}" destId="{1F038B8E-763B-4EAE-BA46-CFEB8072E7BC}" srcOrd="1" destOrd="0" presId="urn:microsoft.com/office/officeart/2005/8/layout/process1"/>
    <dgm:cxn modelId="{532F4339-E84A-464E-A178-706E914FD8B2}" type="presParOf" srcId="{1F038B8E-763B-4EAE-BA46-CFEB8072E7BC}" destId="{80979177-60B5-4BE4-BCC8-7F6710848BC3}" srcOrd="0" destOrd="0" presId="urn:microsoft.com/office/officeart/2005/8/layout/process1"/>
    <dgm:cxn modelId="{252B0400-DFDC-4A9A-9A10-7A538A880B55}" type="presParOf" srcId="{4767DC80-9505-4E7E-A5E2-E61815BE09E0}" destId="{8E3B14BF-9880-4BE3-BC71-6FE59D082622}" srcOrd="2" destOrd="0" presId="urn:microsoft.com/office/officeart/2005/8/layout/process1"/>
    <dgm:cxn modelId="{54113729-2359-48E5-870B-A1E79C10A76B}" type="presParOf" srcId="{4767DC80-9505-4E7E-A5E2-E61815BE09E0}" destId="{CC673F56-438A-40FF-A00B-CF8D132A5FD5}" srcOrd="3" destOrd="0" presId="urn:microsoft.com/office/officeart/2005/8/layout/process1"/>
    <dgm:cxn modelId="{2FD00F8F-719F-4D43-899C-9B4F4258FAF8}" type="presParOf" srcId="{CC673F56-438A-40FF-A00B-CF8D132A5FD5}" destId="{44C978D6-A01A-4645-8C0A-2117AD45FBD8}" srcOrd="0" destOrd="0" presId="urn:microsoft.com/office/officeart/2005/8/layout/process1"/>
    <dgm:cxn modelId="{F2A0BDFB-79E3-46B1-AF0F-159D93318B41}" type="presParOf" srcId="{4767DC80-9505-4E7E-A5E2-E61815BE09E0}" destId="{64CF2870-6BA9-41AE-90B8-9B04EEDAA95A}" srcOrd="4" destOrd="0" presId="urn:microsoft.com/office/officeart/2005/8/layout/process1"/>
    <dgm:cxn modelId="{C5433EA0-2723-4F24-A1DF-547D76F0BCBD}" type="presParOf" srcId="{4767DC80-9505-4E7E-A5E2-E61815BE09E0}" destId="{746856FA-783E-4748-9B33-68FA684C9423}" srcOrd="5" destOrd="0" presId="urn:microsoft.com/office/officeart/2005/8/layout/process1"/>
    <dgm:cxn modelId="{467F6D0E-1A41-40BE-9F29-67F084C29CE2}" type="presParOf" srcId="{746856FA-783E-4748-9B33-68FA684C9423}" destId="{33B66564-6E03-4C56-ADF2-3DE54B35079A}" srcOrd="0" destOrd="0" presId="urn:microsoft.com/office/officeart/2005/8/layout/process1"/>
    <dgm:cxn modelId="{AAF09B46-493A-4479-915A-8980AA8A1991}" type="presParOf" srcId="{4767DC80-9505-4E7E-A5E2-E61815BE09E0}" destId="{932F7419-5FE1-4F22-A1F6-F5E5F725D4E7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4E15D6-18B2-4C38-A1CF-DDEF956569D6}">
      <dsp:nvSpPr>
        <dsp:cNvPr id="0" name=""/>
        <dsp:cNvSpPr/>
      </dsp:nvSpPr>
      <dsp:spPr>
        <a:xfrm>
          <a:off x="4929" y="2062775"/>
          <a:ext cx="2155193" cy="1293115"/>
        </a:xfrm>
        <a:prstGeom prst="roundRect">
          <a:avLst>
            <a:gd name="adj" fmla="val 10000"/>
          </a:avLst>
        </a:prstGeom>
        <a:solidFill>
          <a:schemeClr val="tx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/>
            <a:t>1. IG/WG charter proposal submission</a:t>
          </a:r>
        </a:p>
      </dsp:txBody>
      <dsp:txXfrm>
        <a:off x="42803" y="2100649"/>
        <a:ext cx="2079445" cy="1217367"/>
      </dsp:txXfrm>
    </dsp:sp>
    <dsp:sp modelId="{1F038B8E-763B-4EAE-BA46-CFEB8072E7BC}">
      <dsp:nvSpPr>
        <dsp:cNvPr id="0" name=""/>
        <dsp:cNvSpPr/>
      </dsp:nvSpPr>
      <dsp:spPr>
        <a:xfrm>
          <a:off x="2375641" y="2442089"/>
          <a:ext cx="456900" cy="534487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600" kern="1200"/>
        </a:p>
      </dsp:txBody>
      <dsp:txXfrm>
        <a:off x="2375641" y="2548986"/>
        <a:ext cx="319830" cy="320693"/>
      </dsp:txXfrm>
    </dsp:sp>
    <dsp:sp modelId="{8E3B14BF-9880-4BE3-BC71-6FE59D082622}">
      <dsp:nvSpPr>
        <dsp:cNvPr id="0" name=""/>
        <dsp:cNvSpPr/>
      </dsp:nvSpPr>
      <dsp:spPr>
        <a:xfrm>
          <a:off x="3022199" y="2062775"/>
          <a:ext cx="2155193" cy="1293115"/>
        </a:xfrm>
        <a:prstGeom prst="roundRect">
          <a:avLst>
            <a:gd name="adj" fmla="val 10000"/>
          </a:avLst>
        </a:prstGeom>
        <a:solidFill>
          <a:schemeClr val="tx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/>
            <a:t>2. Delivery Team Review</a:t>
          </a:r>
        </a:p>
      </dsp:txBody>
      <dsp:txXfrm>
        <a:off x="3060073" y="2100649"/>
        <a:ext cx="2079445" cy="1217367"/>
      </dsp:txXfrm>
    </dsp:sp>
    <dsp:sp modelId="{CC673F56-438A-40FF-A00B-CF8D132A5FD5}">
      <dsp:nvSpPr>
        <dsp:cNvPr id="0" name=""/>
        <dsp:cNvSpPr/>
      </dsp:nvSpPr>
      <dsp:spPr>
        <a:xfrm>
          <a:off x="5392912" y="2442089"/>
          <a:ext cx="456900" cy="534487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600" kern="1200"/>
        </a:p>
      </dsp:txBody>
      <dsp:txXfrm>
        <a:off x="5392912" y="2548986"/>
        <a:ext cx="319830" cy="320693"/>
      </dsp:txXfrm>
    </dsp:sp>
    <dsp:sp modelId="{64CF2870-6BA9-41AE-90B8-9B04EEDAA95A}">
      <dsp:nvSpPr>
        <dsp:cNvPr id="0" name=""/>
        <dsp:cNvSpPr/>
      </dsp:nvSpPr>
      <dsp:spPr>
        <a:xfrm>
          <a:off x="6039470" y="2062775"/>
          <a:ext cx="2155193" cy="1293115"/>
        </a:xfrm>
        <a:prstGeom prst="roundRect">
          <a:avLst>
            <a:gd name="adj" fmla="val 10000"/>
          </a:avLst>
        </a:prstGeom>
        <a:solidFill>
          <a:schemeClr val="tx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/>
            <a:t>3. Operational Management Group Review</a:t>
          </a:r>
        </a:p>
      </dsp:txBody>
      <dsp:txXfrm>
        <a:off x="6077344" y="2100649"/>
        <a:ext cx="2079445" cy="1217367"/>
      </dsp:txXfrm>
    </dsp:sp>
    <dsp:sp modelId="{746856FA-783E-4748-9B33-68FA684C9423}">
      <dsp:nvSpPr>
        <dsp:cNvPr id="0" name=""/>
        <dsp:cNvSpPr/>
      </dsp:nvSpPr>
      <dsp:spPr>
        <a:xfrm>
          <a:off x="8410182" y="2442089"/>
          <a:ext cx="456900" cy="534487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600" kern="1200"/>
        </a:p>
      </dsp:txBody>
      <dsp:txXfrm>
        <a:off x="8410182" y="2548986"/>
        <a:ext cx="319830" cy="320693"/>
      </dsp:txXfrm>
    </dsp:sp>
    <dsp:sp modelId="{932F7419-5FE1-4F22-A1F6-F5E5F725D4E7}">
      <dsp:nvSpPr>
        <dsp:cNvPr id="0" name=""/>
        <dsp:cNvSpPr/>
      </dsp:nvSpPr>
      <dsp:spPr>
        <a:xfrm>
          <a:off x="9056740" y="2062775"/>
          <a:ext cx="2155193" cy="1293115"/>
        </a:xfrm>
        <a:prstGeom prst="roundRect">
          <a:avLst>
            <a:gd name="adj" fmla="val 10000"/>
          </a:avLst>
        </a:prstGeom>
        <a:solidFill>
          <a:schemeClr val="tx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/>
            <a:t>4. IG/WG endorsement</a:t>
          </a:r>
        </a:p>
      </dsp:txBody>
      <dsp:txXfrm>
        <a:off x="9094614" y="2100649"/>
        <a:ext cx="2079445" cy="121736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7323E1-404A-9047-805A-AD9065F2C140}" type="datetimeFigureOut">
              <a:rPr lang="en-US" smtClean="0"/>
              <a:t>10/9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D310F6-1553-0B42-9D97-1194B94BC25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8984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6.xml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6" Type="http://schemas.openxmlformats.org/officeDocument/2006/relationships/image" Target="../media/image12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6" Type="http://schemas.openxmlformats.org/officeDocument/2006/relationships/image" Target="../media/image11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37FFBEC-A769-46B9-9FF6-492D6E2F0C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1488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7FFBEC-A769-46B9-9FF6-492D6E2F0C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72513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1C9AE2B-70BC-4BAC-B770-3EB8B0B29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305" y="390526"/>
            <a:ext cx="9000295" cy="8896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2" name="Slide Number Placeholder 11">
            <a:extLst>
              <a:ext uri="{FF2B5EF4-FFF2-40B4-BE49-F238E27FC236}">
                <a16:creationId xmlns:a16="http://schemas.microsoft.com/office/drawing/2014/main" id="{38CC9817-661E-1D28-191E-A5E7416437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845" y="6337172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 descr="A black and grey text&#10;&#10;Description automatically generated">
            <a:extLst>
              <a:ext uri="{FF2B5EF4-FFF2-40B4-BE49-F238E27FC236}">
                <a16:creationId xmlns:a16="http://schemas.microsoft.com/office/drawing/2014/main" id="{8D4AA3DF-3681-E255-6F32-92379B50C9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975" y="340828"/>
            <a:ext cx="2233719" cy="559436"/>
          </a:xfrm>
          <a:prstGeom prst="rect">
            <a:avLst/>
          </a:prstGeom>
        </p:spPr>
      </p:pic>
      <p:pic>
        <p:nvPicPr>
          <p:cNvPr id="5" name="Picture 4" descr="A colorful geometric shapes on a black background&#10;&#10;Description automatically generated">
            <a:extLst>
              <a:ext uri="{FF2B5EF4-FFF2-40B4-BE49-F238E27FC236}">
                <a16:creationId xmlns:a16="http://schemas.microsoft.com/office/drawing/2014/main" id="{D665E6D0-6256-1376-6885-A0222BC8F1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3329" y="2005734"/>
            <a:ext cx="5465341" cy="2846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578902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ull page tex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57198525-27C7-2897-6CC2-F815D1265B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2304" y="1520825"/>
            <a:ext cx="11447391" cy="43442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Slide Number Placeholder 11">
            <a:extLst>
              <a:ext uri="{FF2B5EF4-FFF2-40B4-BE49-F238E27FC236}">
                <a16:creationId xmlns:a16="http://schemas.microsoft.com/office/drawing/2014/main" id="{DEC94EC4-3FF2-4669-B94A-071F6E8B99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845" y="6337172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A black and grey text&#10;&#10;Description automatically generated">
            <a:extLst>
              <a:ext uri="{FF2B5EF4-FFF2-40B4-BE49-F238E27FC236}">
                <a16:creationId xmlns:a16="http://schemas.microsoft.com/office/drawing/2014/main" id="{814A34F4-B2EF-50BE-D48F-4DC1DDE2F3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975" y="340828"/>
            <a:ext cx="2233719" cy="559436"/>
          </a:xfrm>
          <a:prstGeom prst="rect">
            <a:avLst/>
          </a:prstGeom>
        </p:spPr>
      </p:pic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764E0AE-D996-9BEC-BE76-42C0680E3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306" y="390526"/>
            <a:ext cx="9000000" cy="889636"/>
          </a:xfrm>
          <a:prstGeom prst="rect">
            <a:avLst/>
          </a:prstGeom>
        </p:spPr>
        <p:txBody>
          <a:bodyPr vert="horz" lIns="36000" tIns="36000" rIns="36000" bIns="36000" rtlCol="0" anchor="b">
            <a:noAutofit/>
          </a:bodyPr>
          <a:lstStyle/>
          <a:p>
            <a:r>
              <a:rPr lang="en-GB" dirty="0"/>
              <a:t>Click to edit Master title</a:t>
            </a:r>
            <a:br>
              <a:rPr lang="en-GB" dirty="0"/>
            </a:br>
            <a:r>
              <a:rPr lang="en-GB" dirty="0"/>
              <a:t>Allowance for heading to span over 2 lines</a:t>
            </a:r>
            <a:endParaRPr lang="en-US" dirty="0"/>
          </a:p>
        </p:txBody>
      </p:sp>
      <p:pic>
        <p:nvPicPr>
          <p:cNvPr id="8" name="Picture 7" descr="A black and grey text&#10;&#10;Description automatically generated">
            <a:extLst>
              <a:ext uri="{FF2B5EF4-FFF2-40B4-BE49-F238E27FC236}">
                <a16:creationId xmlns:a16="http://schemas.microsoft.com/office/drawing/2014/main" id="{4828571E-F26B-B8A8-9D39-245599C5D2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036"/>
          <a:stretch/>
        </p:blipFill>
        <p:spPr>
          <a:xfrm>
            <a:off x="4325798" y="1721420"/>
            <a:ext cx="3540402" cy="3415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1463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ext and portrai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and grey text&#10;&#10;Description automatically generated">
            <a:extLst>
              <a:ext uri="{FF2B5EF4-FFF2-40B4-BE49-F238E27FC236}">
                <a16:creationId xmlns:a16="http://schemas.microsoft.com/office/drawing/2014/main" id="{4828571E-F26B-B8A8-9D39-245599C5D2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036"/>
          <a:stretch/>
        </p:blipFill>
        <p:spPr>
          <a:xfrm>
            <a:off x="4325799" y="1721420"/>
            <a:ext cx="3540402" cy="341515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2304" y="390526"/>
            <a:ext cx="9000000" cy="88963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</a:t>
            </a:r>
            <a:br>
              <a:rPr lang="en-GB" dirty="0"/>
            </a:br>
            <a:r>
              <a:rPr lang="en-GB" dirty="0"/>
              <a:t>Allowance for heading to span over 2 lin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2305" y="1520826"/>
            <a:ext cx="7569566" cy="43452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7ACEDF0-2317-7D49-BA0B-C229BA7FB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29601" y="1530774"/>
            <a:ext cx="3590096" cy="4345200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4" name="Slide Number Placeholder 11">
            <a:extLst>
              <a:ext uri="{FF2B5EF4-FFF2-40B4-BE49-F238E27FC236}">
                <a16:creationId xmlns:a16="http://schemas.microsoft.com/office/drawing/2014/main" id="{743C68B2-013E-4423-E257-B1127D60B4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845" y="6337172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 descr="A black and grey text&#10;&#10;Description automatically generated">
            <a:extLst>
              <a:ext uri="{FF2B5EF4-FFF2-40B4-BE49-F238E27FC236}">
                <a16:creationId xmlns:a16="http://schemas.microsoft.com/office/drawing/2014/main" id="{75FA392A-7C24-F507-A210-0BBBDB8EFD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975" y="340828"/>
            <a:ext cx="2233719" cy="559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4489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ext and portrai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grey text&#10;&#10;Description automatically generated">
            <a:extLst>
              <a:ext uri="{FF2B5EF4-FFF2-40B4-BE49-F238E27FC236}">
                <a16:creationId xmlns:a16="http://schemas.microsoft.com/office/drawing/2014/main" id="{4828571E-F26B-B8A8-9D39-245599C5D2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036"/>
          <a:stretch/>
        </p:blipFill>
        <p:spPr>
          <a:xfrm>
            <a:off x="4325799" y="1721420"/>
            <a:ext cx="3540402" cy="3415159"/>
          </a:xfrm>
          <a:prstGeom prst="rect">
            <a:avLst/>
          </a:prstGeom>
        </p:spPr>
      </p:pic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0B4AEE4-E6AC-C696-3203-7AF302C990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9758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B4AEE4-E6AC-C696-3203-7AF302C990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50131" y="1520826"/>
            <a:ext cx="7569566" cy="43452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2304" y="390526"/>
            <a:ext cx="9000000" cy="889636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Click to edit Master title</a:t>
            </a:r>
            <a:br>
              <a:rPr lang="en-GB" dirty="0"/>
            </a:br>
            <a:r>
              <a:rPr lang="en-GB" dirty="0"/>
              <a:t>Allowance for heading to span over 2 lines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7ACEDF0-2317-7D49-BA0B-C229BA7FB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2304" y="1530774"/>
            <a:ext cx="3590096" cy="4345200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4" name="Slide Number Placeholder 11">
            <a:extLst>
              <a:ext uri="{FF2B5EF4-FFF2-40B4-BE49-F238E27FC236}">
                <a16:creationId xmlns:a16="http://schemas.microsoft.com/office/drawing/2014/main" id="{743C68B2-013E-4423-E257-B1127D60B4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845" y="6337172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 descr="A black and grey text&#10;&#10;Description automatically generated">
            <a:extLst>
              <a:ext uri="{FF2B5EF4-FFF2-40B4-BE49-F238E27FC236}">
                <a16:creationId xmlns:a16="http://schemas.microsoft.com/office/drawing/2014/main" id="{75FA392A-7C24-F507-A210-0BBBDB8EFD4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975" y="340828"/>
            <a:ext cx="2233719" cy="559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1797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black and grey text&#10;&#10;Description automatically generated">
            <a:extLst>
              <a:ext uri="{FF2B5EF4-FFF2-40B4-BE49-F238E27FC236}">
                <a16:creationId xmlns:a16="http://schemas.microsoft.com/office/drawing/2014/main" id="{4828571E-F26B-B8A8-9D39-245599C5D2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036"/>
          <a:stretch/>
        </p:blipFill>
        <p:spPr>
          <a:xfrm>
            <a:off x="4325799" y="1721420"/>
            <a:ext cx="3540402" cy="3415159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1C9AE2B-70BC-4BAC-B770-3EB8B0B29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304" y="390526"/>
            <a:ext cx="9000000" cy="8896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2" name="Slide Number Placeholder 11">
            <a:extLst>
              <a:ext uri="{FF2B5EF4-FFF2-40B4-BE49-F238E27FC236}">
                <a16:creationId xmlns:a16="http://schemas.microsoft.com/office/drawing/2014/main" id="{38CC9817-661E-1D28-191E-A5E7416437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845" y="6337172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 descr="A black and grey text&#10;&#10;Description automatically generated">
            <a:extLst>
              <a:ext uri="{FF2B5EF4-FFF2-40B4-BE49-F238E27FC236}">
                <a16:creationId xmlns:a16="http://schemas.microsoft.com/office/drawing/2014/main" id="{8D4AA3DF-3681-E255-6F32-92379B50C9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975" y="340828"/>
            <a:ext cx="2233719" cy="559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347412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1244A1A-5EDA-1186-EEAB-2A08C89019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1140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244A1A-5EDA-1186-EEAB-2A08C89019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257368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3832E73-CAC5-47F4-C7E7-D08E7FEFCF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4585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832E73-CAC5-47F4-C7E7-D08E7FEFCF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96984F7-6F7D-17D0-BE3D-991DD1CABC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306" y="390526"/>
            <a:ext cx="5345005" cy="889636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B90DFA-AABF-3F2A-1A8E-5840E986D0F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 descr="A colorful rainbow with black background&#10;&#10;Description automatically generated">
            <a:extLst>
              <a:ext uri="{FF2B5EF4-FFF2-40B4-BE49-F238E27FC236}">
                <a16:creationId xmlns:a16="http://schemas.microsoft.com/office/drawing/2014/main" id="{17E4C188-3B9F-9C1C-6334-BA98A75B869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 flipH="1">
            <a:off x="8491832" y="3309128"/>
            <a:ext cx="3841252" cy="3671238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B4AECF8-19EE-5114-98FD-8DD4A94B58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2305" y="1520825"/>
            <a:ext cx="5345006" cy="43442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A34A0CE8-9E6D-E06C-66BA-A80330F6238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74691" y="1530774"/>
            <a:ext cx="5345006" cy="4345200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0543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6984F7-6F7D-17D0-BE3D-991DD1CABC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B90DFA-AABF-3F2A-1A8E-5840E986D0F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 descr="A colorful rainbow with black background&#10;&#10;Description automatically generated">
            <a:extLst>
              <a:ext uri="{FF2B5EF4-FFF2-40B4-BE49-F238E27FC236}">
                <a16:creationId xmlns:a16="http://schemas.microsoft.com/office/drawing/2014/main" id="{17E4C188-3B9F-9C1C-6334-BA98A75B86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 flipH="1">
            <a:off x="8491832" y="3309128"/>
            <a:ext cx="3841252" cy="3671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6390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13D4156-2E9B-426F-42D1-2919E04D7D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6091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3D4156-2E9B-426F-42D1-2919E04D7D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colorful geometric shapes on a black background&#10;&#10;Description automatically generated">
            <a:extLst>
              <a:ext uri="{FF2B5EF4-FFF2-40B4-BE49-F238E27FC236}">
                <a16:creationId xmlns:a16="http://schemas.microsoft.com/office/drawing/2014/main" id="{7AAFE6CB-04C5-F372-A6DD-213BE157E94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3329" y="2005734"/>
            <a:ext cx="5465341" cy="284653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96984F7-6F7D-17D0-BE3D-991DD1CABC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306" y="390526"/>
            <a:ext cx="5345004" cy="889636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B90DFA-AABF-3F2A-1A8E-5840E986D0F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E571981-8E63-4B81-1552-09AB3D2ADA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2305" y="1520825"/>
            <a:ext cx="5345005" cy="43442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7AE1BF33-9558-5458-DFF3-BBD7513250F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74691" y="1530774"/>
            <a:ext cx="5345006" cy="4345200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18091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6984F7-6F7D-17D0-BE3D-991DD1CABC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B90DFA-AABF-3F2A-1A8E-5840E986D0F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A colorful geometric shapes on a black background&#10;&#10;Description automatically generated">
            <a:extLst>
              <a:ext uri="{FF2B5EF4-FFF2-40B4-BE49-F238E27FC236}">
                <a16:creationId xmlns:a16="http://schemas.microsoft.com/office/drawing/2014/main" id="{D0CCFF7C-8989-818F-453D-5C6EFD2C36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3329" y="2005734"/>
            <a:ext cx="5465341" cy="2846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0132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37FFBEC-A769-46B9-9FF6-492D6E2F0C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1488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7FFBEC-A769-46B9-9FF6-492D6E2F0C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151571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and grey text&#10;&#10;Description automatically generated">
            <a:extLst>
              <a:ext uri="{FF2B5EF4-FFF2-40B4-BE49-F238E27FC236}">
                <a16:creationId xmlns:a16="http://schemas.microsoft.com/office/drawing/2014/main" id="{4828571E-F26B-B8A8-9D39-245599C5D2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036"/>
          <a:stretch/>
        </p:blipFill>
        <p:spPr>
          <a:xfrm>
            <a:off x="4325799" y="1721420"/>
            <a:ext cx="3540402" cy="3415159"/>
          </a:xfrm>
          <a:prstGeom prst="rect">
            <a:avLst/>
          </a:prstGeom>
        </p:spPr>
      </p:pic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B0DF24E-C189-00AA-3A9B-B3D3B0B1C4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6083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0DF24E-C189-00AA-3A9B-B3D3B0B1C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96984F7-6F7D-17D0-BE3D-991DD1CABC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306" y="390526"/>
            <a:ext cx="5345004" cy="889636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B90DFA-AABF-3F2A-1A8E-5840E986D0F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27F4327-4A24-A258-D5F6-58E028BD272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2305" y="1520825"/>
            <a:ext cx="5345005" cy="43442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0E204669-37B2-D6F3-2814-EC81768DDC4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74691" y="1530774"/>
            <a:ext cx="5345006" cy="4345200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84636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and grey text&#10;&#10;Description automatically generated">
            <a:extLst>
              <a:ext uri="{FF2B5EF4-FFF2-40B4-BE49-F238E27FC236}">
                <a16:creationId xmlns:a16="http://schemas.microsoft.com/office/drawing/2014/main" id="{4828571E-F26B-B8A8-9D39-245599C5D2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036"/>
          <a:stretch/>
        </p:blipFill>
        <p:spPr>
          <a:xfrm>
            <a:off x="4325799" y="1721420"/>
            <a:ext cx="3540402" cy="341515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96984F7-6F7D-17D0-BE3D-991DD1CABC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FB90DFA-AABF-3F2A-1A8E-5840E986D0F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0251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86B10B0-119A-762C-BF89-CEC6871B76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1605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6B10B0-119A-762C-BF89-CEC6871B76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BB2486-AE64-30D7-A808-D1622389E3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305" y="392400"/>
            <a:ext cx="5345005" cy="889636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1E941E-29A1-EFA6-DDC5-84F7BB8091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 descr="A colorful rainbow with black background&#10;&#10;Description automatically generated">
            <a:extLst>
              <a:ext uri="{FF2B5EF4-FFF2-40B4-BE49-F238E27FC236}">
                <a16:creationId xmlns:a16="http://schemas.microsoft.com/office/drawing/2014/main" id="{35D59997-97BE-39B0-862B-E4D8F287B14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 flipH="1">
            <a:off x="8491832" y="3309128"/>
            <a:ext cx="3841252" cy="3671238"/>
          </a:xfrm>
          <a:prstGeom prst="rect">
            <a:avLst/>
          </a:prstGeom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2011DDC-204D-9F6C-A470-979E6B1D17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2305" y="1522800"/>
            <a:ext cx="5345005" cy="43452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b="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713AAB1B-92A0-A7B9-A82C-15F634F4B86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74691" y="1530774"/>
            <a:ext cx="5345006" cy="4345200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44750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BB2486-AE64-30D7-A808-D1622389E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1E941E-29A1-EFA6-DDC5-84F7BB8091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 descr="A colorful rainbow with black background&#10;&#10;Description automatically generated">
            <a:extLst>
              <a:ext uri="{FF2B5EF4-FFF2-40B4-BE49-F238E27FC236}">
                <a16:creationId xmlns:a16="http://schemas.microsoft.com/office/drawing/2014/main" id="{95E521BF-1394-78D6-AD34-35E4A54DA7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 flipH="1">
            <a:off x="8491832" y="3309128"/>
            <a:ext cx="3841252" cy="3671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6728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A2CEDFA-400E-66DF-D3FA-66A1B5D4D3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1188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2CEDFA-400E-66DF-D3FA-66A1B5D4D3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colorful geometric shapes on a black background&#10;&#10;Description automatically generated">
            <a:extLst>
              <a:ext uri="{FF2B5EF4-FFF2-40B4-BE49-F238E27FC236}">
                <a16:creationId xmlns:a16="http://schemas.microsoft.com/office/drawing/2014/main" id="{163E0475-8CA3-2537-7AAC-7ED09C265C7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3329" y="2005734"/>
            <a:ext cx="5465341" cy="284653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FBB2486-AE64-30D7-A808-D1622389E3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305" y="392400"/>
            <a:ext cx="5345005" cy="889636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1E941E-29A1-EFA6-DDC5-84F7BB8091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39A6B96-B03B-A1D4-20E1-9A095B557E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2305" y="1522800"/>
            <a:ext cx="5345005" cy="43452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b="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C401E57D-476D-4FF4-C6DE-584A187C86D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74691" y="1530774"/>
            <a:ext cx="5345006" cy="4345200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2141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BB2486-AE64-30D7-A808-D1622389E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1E941E-29A1-EFA6-DDC5-84F7BB8091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A colorful geometric shapes on a black background&#10;&#10;Description automatically generated">
            <a:extLst>
              <a:ext uri="{FF2B5EF4-FFF2-40B4-BE49-F238E27FC236}">
                <a16:creationId xmlns:a16="http://schemas.microsoft.com/office/drawing/2014/main" id="{5E94CD07-8657-8EF6-EAD5-117AD45242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3329" y="2005734"/>
            <a:ext cx="5465341" cy="2846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2215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and grey text&#10;&#10;Description automatically generated">
            <a:extLst>
              <a:ext uri="{FF2B5EF4-FFF2-40B4-BE49-F238E27FC236}">
                <a16:creationId xmlns:a16="http://schemas.microsoft.com/office/drawing/2014/main" id="{4828571E-F26B-B8A8-9D39-245599C5D2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036"/>
          <a:stretch/>
        </p:blipFill>
        <p:spPr>
          <a:xfrm>
            <a:off x="4325799" y="1721420"/>
            <a:ext cx="3540402" cy="3415159"/>
          </a:xfrm>
          <a:prstGeom prst="rect">
            <a:avLst/>
          </a:prstGeom>
        </p:spPr>
      </p:pic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1824DCB-ED05-F7EA-7140-EACEC4FC3B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2795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824DCB-ED05-F7EA-7140-EACEC4FC3B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BB2486-AE64-30D7-A808-D1622389E3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305" y="392400"/>
            <a:ext cx="5345005" cy="889636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1E941E-29A1-EFA6-DDC5-84F7BB8091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980A9DB-F67C-E7CA-E2D2-73AEEB86E6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2305" y="1522800"/>
            <a:ext cx="5345005" cy="43452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b="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581058E7-4897-5A45-3B6D-532177C7AC66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74691" y="1530774"/>
            <a:ext cx="5345006" cy="4345200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77799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ack and grey text&#10;&#10;Description automatically generated">
            <a:extLst>
              <a:ext uri="{FF2B5EF4-FFF2-40B4-BE49-F238E27FC236}">
                <a16:creationId xmlns:a16="http://schemas.microsoft.com/office/drawing/2014/main" id="{4828571E-F26B-B8A8-9D39-245599C5D2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4036"/>
          <a:stretch/>
        </p:blipFill>
        <p:spPr>
          <a:xfrm>
            <a:off x="4325799" y="1721420"/>
            <a:ext cx="3540402" cy="341515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FBB2486-AE64-30D7-A808-D1622389E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1E941E-29A1-EFA6-DDC5-84F7BB80914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93341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tex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57198525-27C7-2897-6CC2-F815D1265B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2304" y="1520825"/>
            <a:ext cx="11447391" cy="43442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Slide Number Placeholder 11">
            <a:extLst>
              <a:ext uri="{FF2B5EF4-FFF2-40B4-BE49-F238E27FC236}">
                <a16:creationId xmlns:a16="http://schemas.microsoft.com/office/drawing/2014/main" id="{DEC94EC4-3FF2-4669-B94A-071F6E8B99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845" y="6337172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A black and grey text&#10;&#10;Description automatically generated">
            <a:extLst>
              <a:ext uri="{FF2B5EF4-FFF2-40B4-BE49-F238E27FC236}">
                <a16:creationId xmlns:a16="http://schemas.microsoft.com/office/drawing/2014/main" id="{814A34F4-B2EF-50BE-D48F-4DC1DDE2F3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975" y="340828"/>
            <a:ext cx="2233719" cy="559436"/>
          </a:xfrm>
          <a:prstGeom prst="rect">
            <a:avLst/>
          </a:prstGeom>
        </p:spPr>
      </p:pic>
      <p:pic>
        <p:nvPicPr>
          <p:cNvPr id="11" name="Picture 10" descr="A colorful rainbow with black background&#10;&#10;Description automatically generated">
            <a:extLst>
              <a:ext uri="{FF2B5EF4-FFF2-40B4-BE49-F238E27FC236}">
                <a16:creationId xmlns:a16="http://schemas.microsoft.com/office/drawing/2014/main" id="{B32D6319-82A8-A81C-5A11-451D252547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 flipH="1">
            <a:off x="8491832" y="3309128"/>
            <a:ext cx="3841252" cy="3671238"/>
          </a:xfrm>
          <a:prstGeom prst="rect">
            <a:avLst/>
          </a:prstGeom>
        </p:spPr>
      </p:pic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764E0AE-D996-9BEC-BE76-42C0680E3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306" y="390526"/>
            <a:ext cx="9000000" cy="889636"/>
          </a:xfrm>
          <a:prstGeom prst="rect">
            <a:avLst/>
          </a:prstGeom>
        </p:spPr>
        <p:txBody>
          <a:bodyPr vert="horz" lIns="36000" tIns="36000" rIns="36000" bIns="36000" rtlCol="0" anchor="b">
            <a:noAutofit/>
          </a:bodyPr>
          <a:lstStyle/>
          <a:p>
            <a:r>
              <a:rPr lang="en-GB" dirty="0"/>
              <a:t>Click to edit Master title</a:t>
            </a:r>
            <a:br>
              <a:rPr lang="en-GB" dirty="0"/>
            </a:br>
            <a:r>
              <a:rPr lang="en-GB" dirty="0"/>
              <a:t>Allowance for heading to span over 2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130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and portrai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2304" y="390526"/>
            <a:ext cx="9000000" cy="88963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</a:t>
            </a:r>
            <a:br>
              <a:rPr lang="en-GB" dirty="0"/>
            </a:br>
            <a:r>
              <a:rPr lang="en-GB" dirty="0"/>
              <a:t>Allowance for heading to span over 2 lin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2305" y="1520826"/>
            <a:ext cx="7569566" cy="43452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7ACEDF0-2317-7D49-BA0B-C229BA7FB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29601" y="1530774"/>
            <a:ext cx="3590096" cy="4345200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4" name="Slide Number Placeholder 11">
            <a:extLst>
              <a:ext uri="{FF2B5EF4-FFF2-40B4-BE49-F238E27FC236}">
                <a16:creationId xmlns:a16="http://schemas.microsoft.com/office/drawing/2014/main" id="{743C68B2-013E-4423-E257-B1127D60B4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845" y="6337172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 descr="A black and grey text&#10;&#10;Description automatically generated">
            <a:extLst>
              <a:ext uri="{FF2B5EF4-FFF2-40B4-BE49-F238E27FC236}">
                <a16:creationId xmlns:a16="http://schemas.microsoft.com/office/drawing/2014/main" id="{75FA392A-7C24-F507-A210-0BBBDB8EFD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975" y="340828"/>
            <a:ext cx="2233719" cy="559436"/>
          </a:xfrm>
          <a:prstGeom prst="rect">
            <a:avLst/>
          </a:prstGeom>
        </p:spPr>
      </p:pic>
      <p:pic>
        <p:nvPicPr>
          <p:cNvPr id="5" name="Picture 4" descr="A colorful rainbow with black background&#10;&#10;Description automatically generated">
            <a:extLst>
              <a:ext uri="{FF2B5EF4-FFF2-40B4-BE49-F238E27FC236}">
                <a16:creationId xmlns:a16="http://schemas.microsoft.com/office/drawing/2014/main" id="{045A76A1-8506-6B6B-ED75-FC8638ACC4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 flipH="1">
            <a:off x="8491832" y="3309128"/>
            <a:ext cx="3841252" cy="3671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9073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ext and portrai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0B4AEE4-E6AC-C696-3203-7AF302C990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9758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B4AEE4-E6AC-C696-3203-7AF302C990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50131" y="1520826"/>
            <a:ext cx="7569566" cy="43452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2304" y="390526"/>
            <a:ext cx="9000000" cy="889636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Click to edit Master title</a:t>
            </a:r>
            <a:br>
              <a:rPr lang="en-GB" dirty="0"/>
            </a:br>
            <a:r>
              <a:rPr lang="en-GB" dirty="0"/>
              <a:t>Allowance for heading to span over 2 lines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7ACEDF0-2317-7D49-BA0B-C229BA7FB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2304" y="1530774"/>
            <a:ext cx="3590096" cy="4345200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4" name="Slide Number Placeholder 11">
            <a:extLst>
              <a:ext uri="{FF2B5EF4-FFF2-40B4-BE49-F238E27FC236}">
                <a16:creationId xmlns:a16="http://schemas.microsoft.com/office/drawing/2014/main" id="{743C68B2-013E-4423-E257-B1127D60B4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845" y="6337172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 descr="A black and grey text&#10;&#10;Description automatically generated">
            <a:extLst>
              <a:ext uri="{FF2B5EF4-FFF2-40B4-BE49-F238E27FC236}">
                <a16:creationId xmlns:a16="http://schemas.microsoft.com/office/drawing/2014/main" id="{75FA392A-7C24-F507-A210-0BBBDB8EFD4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975" y="340828"/>
            <a:ext cx="2233719" cy="559436"/>
          </a:xfrm>
          <a:prstGeom prst="rect">
            <a:avLst/>
          </a:prstGeom>
        </p:spPr>
      </p:pic>
      <p:pic>
        <p:nvPicPr>
          <p:cNvPr id="5" name="Picture 4" descr="A colorful rainbow with black background&#10;&#10;Description automatically generated">
            <a:extLst>
              <a:ext uri="{FF2B5EF4-FFF2-40B4-BE49-F238E27FC236}">
                <a16:creationId xmlns:a16="http://schemas.microsoft.com/office/drawing/2014/main" id="{045A76A1-8506-6B6B-ED75-FC8638ACC43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 flipH="1">
            <a:off x="8491832" y="3309128"/>
            <a:ext cx="3841252" cy="3671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8019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1C9AE2B-70BC-4BAC-B770-3EB8B0B29C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305" y="390526"/>
            <a:ext cx="9000295" cy="8896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2" name="Slide Number Placeholder 11">
            <a:extLst>
              <a:ext uri="{FF2B5EF4-FFF2-40B4-BE49-F238E27FC236}">
                <a16:creationId xmlns:a16="http://schemas.microsoft.com/office/drawing/2014/main" id="{38CC9817-661E-1D28-191E-A5E7416437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845" y="6337172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 descr="A black and grey text&#10;&#10;Description automatically generated">
            <a:extLst>
              <a:ext uri="{FF2B5EF4-FFF2-40B4-BE49-F238E27FC236}">
                <a16:creationId xmlns:a16="http://schemas.microsoft.com/office/drawing/2014/main" id="{8D4AA3DF-3681-E255-6F32-92379B50C9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975" y="340828"/>
            <a:ext cx="2233719" cy="559436"/>
          </a:xfrm>
          <a:prstGeom prst="rect">
            <a:avLst/>
          </a:prstGeom>
        </p:spPr>
      </p:pic>
      <p:pic>
        <p:nvPicPr>
          <p:cNvPr id="4" name="Picture 3" descr="A colorful rainbow with black background&#10;&#10;Description automatically generated">
            <a:extLst>
              <a:ext uri="{FF2B5EF4-FFF2-40B4-BE49-F238E27FC236}">
                <a16:creationId xmlns:a16="http://schemas.microsoft.com/office/drawing/2014/main" id="{9E63B5A7-84AB-339A-2DA2-D097D93BBF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 flipH="1">
            <a:off x="8491832" y="3309128"/>
            <a:ext cx="3841252" cy="3671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813356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page tex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57198525-27C7-2897-6CC2-F815D1265B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2304" y="1520825"/>
            <a:ext cx="11447391" cy="43442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Slide Number Placeholder 11">
            <a:extLst>
              <a:ext uri="{FF2B5EF4-FFF2-40B4-BE49-F238E27FC236}">
                <a16:creationId xmlns:a16="http://schemas.microsoft.com/office/drawing/2014/main" id="{DEC94EC4-3FF2-4669-B94A-071F6E8B99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845" y="6337172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A black and grey text&#10;&#10;Description automatically generated">
            <a:extLst>
              <a:ext uri="{FF2B5EF4-FFF2-40B4-BE49-F238E27FC236}">
                <a16:creationId xmlns:a16="http://schemas.microsoft.com/office/drawing/2014/main" id="{814A34F4-B2EF-50BE-D48F-4DC1DDE2F3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975" y="340828"/>
            <a:ext cx="2233719" cy="559436"/>
          </a:xfrm>
          <a:prstGeom prst="rect">
            <a:avLst/>
          </a:prstGeom>
        </p:spPr>
      </p:pic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2764E0AE-D996-9BEC-BE76-42C0680E3B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2306" y="390526"/>
            <a:ext cx="9000000" cy="889636"/>
          </a:xfrm>
          <a:prstGeom prst="rect">
            <a:avLst/>
          </a:prstGeom>
        </p:spPr>
        <p:txBody>
          <a:bodyPr vert="horz" lIns="36000" tIns="36000" rIns="36000" bIns="36000" rtlCol="0" anchor="b">
            <a:noAutofit/>
          </a:bodyPr>
          <a:lstStyle/>
          <a:p>
            <a:r>
              <a:rPr lang="en-GB" dirty="0"/>
              <a:t>Click to edit Master title</a:t>
            </a:r>
            <a:br>
              <a:rPr lang="en-GB" dirty="0"/>
            </a:br>
            <a:r>
              <a:rPr lang="en-GB" dirty="0"/>
              <a:t>Allowance for heading to span over 2 lines</a:t>
            </a:r>
            <a:endParaRPr lang="en-US" dirty="0"/>
          </a:p>
        </p:txBody>
      </p:sp>
      <p:pic>
        <p:nvPicPr>
          <p:cNvPr id="2" name="Picture 1" descr="A colorful geometric shapes on a black background&#10;&#10;Description automatically generated">
            <a:extLst>
              <a:ext uri="{FF2B5EF4-FFF2-40B4-BE49-F238E27FC236}">
                <a16:creationId xmlns:a16="http://schemas.microsoft.com/office/drawing/2014/main" id="{4596CC45-C496-06AE-9E1A-6A31D18D97A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3329" y="2005734"/>
            <a:ext cx="5465341" cy="2846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0011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portrai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2304" y="390526"/>
            <a:ext cx="9000000" cy="889636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</a:t>
            </a:r>
            <a:br>
              <a:rPr lang="en-GB" dirty="0"/>
            </a:br>
            <a:r>
              <a:rPr lang="en-GB" dirty="0"/>
              <a:t>Allowance for heading to span over 2 lin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2305" y="1520826"/>
            <a:ext cx="7569566" cy="43452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7ACEDF0-2317-7D49-BA0B-C229BA7FB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229601" y="1530774"/>
            <a:ext cx="3590096" cy="4345200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4" name="Slide Number Placeholder 11">
            <a:extLst>
              <a:ext uri="{FF2B5EF4-FFF2-40B4-BE49-F238E27FC236}">
                <a16:creationId xmlns:a16="http://schemas.microsoft.com/office/drawing/2014/main" id="{743C68B2-013E-4423-E257-B1127D60B4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845" y="6337172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 descr="A black and grey text&#10;&#10;Description automatically generated">
            <a:extLst>
              <a:ext uri="{FF2B5EF4-FFF2-40B4-BE49-F238E27FC236}">
                <a16:creationId xmlns:a16="http://schemas.microsoft.com/office/drawing/2014/main" id="{75FA392A-7C24-F507-A210-0BBBDB8EFD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975" y="340828"/>
            <a:ext cx="2233719" cy="559436"/>
          </a:xfrm>
          <a:prstGeom prst="rect">
            <a:avLst/>
          </a:prstGeom>
        </p:spPr>
      </p:pic>
      <p:pic>
        <p:nvPicPr>
          <p:cNvPr id="6" name="Picture 5" descr="A colorful geometric shapes on a black background&#10;&#10;Description automatically generated">
            <a:extLst>
              <a:ext uri="{FF2B5EF4-FFF2-40B4-BE49-F238E27FC236}">
                <a16:creationId xmlns:a16="http://schemas.microsoft.com/office/drawing/2014/main" id="{4E608DF9-A2D4-70DD-985F-8345C0ACE3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3329" y="2005734"/>
            <a:ext cx="5465341" cy="2846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01738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ext and portrai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0B4AEE4-E6AC-C696-3203-7AF302C990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9758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B4AEE4-E6AC-C696-3203-7AF302C990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50131" y="1520826"/>
            <a:ext cx="7569566" cy="43452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2304" y="390526"/>
            <a:ext cx="9000000" cy="889636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GB" dirty="0"/>
              <a:t>Click to edit Master title</a:t>
            </a:r>
            <a:br>
              <a:rPr lang="en-GB" dirty="0"/>
            </a:br>
            <a:r>
              <a:rPr lang="en-GB" dirty="0"/>
              <a:t>Allowance for heading to span over 2 lines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7ACEDF0-2317-7D49-BA0B-C229BA7FBF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2304" y="1530774"/>
            <a:ext cx="3590096" cy="4345200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r>
              <a:rPr lang="en-GB" dirty="0"/>
              <a:t>Click icon to add picture</a:t>
            </a:r>
            <a:endParaRPr lang="en-US" dirty="0"/>
          </a:p>
        </p:txBody>
      </p:sp>
      <p:sp>
        <p:nvSpPr>
          <p:cNvPr id="4" name="Slide Number Placeholder 11">
            <a:extLst>
              <a:ext uri="{FF2B5EF4-FFF2-40B4-BE49-F238E27FC236}">
                <a16:creationId xmlns:a16="http://schemas.microsoft.com/office/drawing/2014/main" id="{743C68B2-013E-4423-E257-B1127D60B4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845" y="6337172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 descr="A black and grey text&#10;&#10;Description automatically generated">
            <a:extLst>
              <a:ext uri="{FF2B5EF4-FFF2-40B4-BE49-F238E27FC236}">
                <a16:creationId xmlns:a16="http://schemas.microsoft.com/office/drawing/2014/main" id="{75FA392A-7C24-F507-A210-0BBBDB8EFD4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975" y="340828"/>
            <a:ext cx="2233719" cy="559436"/>
          </a:xfrm>
          <a:prstGeom prst="rect">
            <a:avLst/>
          </a:prstGeom>
        </p:spPr>
      </p:pic>
      <p:pic>
        <p:nvPicPr>
          <p:cNvPr id="6" name="Picture 5" descr="A colorful geometric shapes on a black background&#10;&#10;Description automatically generated">
            <a:extLst>
              <a:ext uri="{FF2B5EF4-FFF2-40B4-BE49-F238E27FC236}">
                <a16:creationId xmlns:a16="http://schemas.microsoft.com/office/drawing/2014/main" id="{0AD18A78-D9D2-F665-2074-51F62CC0B63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3329" y="2005734"/>
            <a:ext cx="5465341" cy="2846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6960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5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4.xml"/><Relationship Id="rId7" Type="http://schemas.openxmlformats.org/officeDocument/2006/relationships/image" Target="../media/image8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6" Type="http://schemas.openxmlformats.org/officeDocument/2006/relationships/oleObject" Target="../embeddings/oleObject5.bin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12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8.xml"/><Relationship Id="rId7" Type="http://schemas.openxmlformats.org/officeDocument/2006/relationships/theme" Target="../theme/theme4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oleObject" Target="../embeddings/oleObject10.bin"/><Relationship Id="rId14" Type="http://schemas.openxmlformats.org/officeDocument/2006/relationships/image" Target="../media/image10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24.xml"/><Relationship Id="rId7" Type="http://schemas.openxmlformats.org/officeDocument/2006/relationships/theme" Target="../theme/theme5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2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5.xml"/><Relationship Id="rId9" Type="http://schemas.openxmlformats.org/officeDocument/2006/relationships/oleObject" Target="../embeddings/oleObject14.bin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A0D0B54-6736-4CC4-A2C3-1C323C2BD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41530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A0D0B54-6736-4CC4-A2C3-1C323C2BD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E7CD926A-0F5C-0ECF-9642-8F8E53424351}"/>
              </a:ext>
            </a:extLst>
          </p:cNvPr>
          <p:cNvSpPr txBox="1">
            <a:spLocks/>
          </p:cNvSpPr>
          <p:nvPr userDrawn="1"/>
        </p:nvSpPr>
        <p:spPr>
          <a:xfrm>
            <a:off x="700410" y="2453147"/>
            <a:ext cx="7740000" cy="677798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chemeClr val="accent1"/>
                </a:solidFill>
              </a:rPr>
              <a:t>Click to edit Master title style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1975AD4-6FA8-D578-437F-0259EFF35B46}"/>
              </a:ext>
            </a:extLst>
          </p:cNvPr>
          <p:cNvSpPr txBox="1">
            <a:spLocks/>
          </p:cNvSpPr>
          <p:nvPr userDrawn="1"/>
        </p:nvSpPr>
        <p:spPr>
          <a:xfrm>
            <a:off x="700410" y="3368046"/>
            <a:ext cx="5422896" cy="6777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2000" b="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Calibri" panose="020F0502020204030204" pitchFamily="34" charset="0"/>
              <a:buNone/>
              <a:tabLst/>
              <a:defRPr sz="20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Courier New" panose="02070309020205020404" pitchFamily="49" charset="0"/>
              <a:buNone/>
              <a:tabLst/>
              <a:defRPr sz="18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  <a:tabLst/>
              <a:defRPr sz="16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accent1"/>
                </a:solidFill>
              </a:rPr>
              <a:t>Click to edit Master subtitle style</a:t>
            </a:r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15" name="Picture 14" descr="A black and grey text&#10;&#10;Description automatically generated">
            <a:extLst>
              <a:ext uri="{FF2B5EF4-FFF2-40B4-BE49-F238E27FC236}">
                <a16:creationId xmlns:a16="http://schemas.microsoft.com/office/drawing/2014/main" id="{F4D9BED8-BE76-93AB-D172-A8104B9CB3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229" y="1368752"/>
            <a:ext cx="3265469" cy="817839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2FED336E-2DBD-6B45-6124-4F33BF07D257}"/>
              </a:ext>
            </a:extLst>
          </p:cNvPr>
          <p:cNvGrpSpPr/>
          <p:nvPr userDrawn="1"/>
        </p:nvGrpSpPr>
        <p:grpSpPr>
          <a:xfrm>
            <a:off x="392400" y="6089042"/>
            <a:ext cx="4278405" cy="454972"/>
            <a:chOff x="8724550" y="591603"/>
            <a:chExt cx="4278405" cy="454972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9FA69A3A-C90D-3154-AE51-ECABAC8A181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10287033" y="613665"/>
              <a:ext cx="1160644" cy="410848"/>
            </a:xfrm>
            <a:prstGeom prst="rect">
              <a:avLst/>
            </a:prstGeom>
          </p:spPr>
        </p:pic>
        <p:pic>
          <p:nvPicPr>
            <p:cNvPr id="20" name="Picture 19" descr="Logo&#10;&#10;Description automatically generated">
              <a:extLst>
                <a:ext uri="{FF2B5EF4-FFF2-40B4-BE49-F238E27FC236}">
                  <a16:creationId xmlns:a16="http://schemas.microsoft.com/office/drawing/2014/main" id="{21943BF2-6654-4DB8-5B98-17723504F1F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/>
            <a:srcRect l="6276" t="8926" r="8699" b="11273"/>
            <a:stretch/>
          </p:blipFill>
          <p:spPr>
            <a:xfrm>
              <a:off x="11636815" y="591603"/>
              <a:ext cx="1366140" cy="454972"/>
            </a:xfrm>
            <a:prstGeom prst="rect">
              <a:avLst/>
            </a:prstGeom>
          </p:spPr>
        </p:pic>
        <p:pic>
          <p:nvPicPr>
            <p:cNvPr id="21" name="Picture 20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19C58D99-C7FE-9B52-EE59-BBFEC4F01A1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8724550" y="608161"/>
              <a:ext cx="1371600" cy="404411"/>
            </a:xfrm>
            <a:prstGeom prst="rect">
              <a:avLst/>
            </a:prstGeom>
          </p:spPr>
        </p:pic>
      </p:grpSp>
      <p:pic>
        <p:nvPicPr>
          <p:cNvPr id="14" name="Picture 13" descr="A colorful shapes and lines on a black background&#10;&#10;Description automatically generated">
            <a:extLst>
              <a:ext uri="{FF2B5EF4-FFF2-40B4-BE49-F238E27FC236}">
                <a16:creationId xmlns:a16="http://schemas.microsoft.com/office/drawing/2014/main" id="{061A1D3B-8BA1-1A2B-68BE-ED8C803EFFC3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900" y="3727056"/>
            <a:ext cx="5497512" cy="28676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95173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tabLst/>
        <a:defRPr sz="1800" b="0" kern="1200">
          <a:solidFill>
            <a:srgbClr val="FFFFFF"/>
          </a:solidFill>
          <a:latin typeface="+mn-lt"/>
          <a:ea typeface="+mn-ea"/>
          <a:cs typeface="+mn-cs"/>
        </a:defRPr>
      </a:lvl1pPr>
      <a:lvl2pPr marL="54000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Calibri" panose="020F0502020204030204" pitchFamily="34" charset="0"/>
        <a:buChar char="–"/>
        <a:tabLst/>
        <a:defRPr sz="1800" kern="1200">
          <a:solidFill>
            <a:srgbClr val="FFFFFF"/>
          </a:solidFill>
          <a:latin typeface="+mn-lt"/>
          <a:ea typeface="+mn-ea"/>
          <a:cs typeface="+mn-cs"/>
        </a:defRPr>
      </a:lvl2pPr>
      <a:lvl3pPr marL="809625" indent="-2762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Courier New" panose="02070309020205020404" pitchFamily="49" charset="0"/>
        <a:buChar char="o"/>
        <a:tabLst/>
        <a:defRPr sz="1800" kern="1200">
          <a:solidFill>
            <a:srgbClr val="FFFFFF"/>
          </a:solidFill>
          <a:latin typeface="+mn-lt"/>
          <a:ea typeface="+mn-ea"/>
          <a:cs typeface="+mn-cs"/>
        </a:defRPr>
      </a:lvl3pPr>
      <a:lvl4pPr marL="107950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tabLst/>
        <a:defRPr sz="1800" kern="1200">
          <a:solidFill>
            <a:srgbClr val="FFFFFF"/>
          </a:solidFill>
          <a:latin typeface="+mn-lt"/>
          <a:ea typeface="+mn-ea"/>
          <a:cs typeface="+mn-cs"/>
        </a:defRPr>
      </a:lvl4pPr>
      <a:lvl5pPr marL="1349375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tabLst/>
        <a:defRPr sz="1800" kern="1200">
          <a:solidFill>
            <a:srgbClr val="FFFFF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6">
          <p15:clr>
            <a:srgbClr val="F26B43"/>
          </p15:clr>
        </p15:guide>
        <p15:guide id="2" pos="227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4110">
          <p15:clr>
            <a:srgbClr val="F26B43"/>
          </p15:clr>
        </p15:guide>
        <p15:guide id="6" orient="horz" pos="803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1" orient="horz" pos="3997">
          <p15:clr>
            <a:srgbClr val="F26B43"/>
          </p15:clr>
        </p15:guide>
        <p15:guide id="15" orient="horz" pos="94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A0D0B54-6736-4CC4-A2C3-1C323C2BD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641530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A0D0B54-6736-4CC4-A2C3-1C323C2BD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oup 23">
            <a:extLst>
              <a:ext uri="{FF2B5EF4-FFF2-40B4-BE49-F238E27FC236}">
                <a16:creationId xmlns:a16="http://schemas.microsoft.com/office/drawing/2014/main" id="{126F138D-A5C8-193F-0021-AACB2978F251}"/>
              </a:ext>
            </a:extLst>
          </p:cNvPr>
          <p:cNvGrpSpPr/>
          <p:nvPr userDrawn="1"/>
        </p:nvGrpSpPr>
        <p:grpSpPr>
          <a:xfrm>
            <a:off x="393178" y="6074059"/>
            <a:ext cx="4291575" cy="462287"/>
            <a:chOff x="393178" y="6074059"/>
            <a:chExt cx="4291575" cy="462287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27401055-1EFD-B807-91E3-BE38DB538E1E}"/>
                </a:ext>
              </a:extLst>
            </p:cNvPr>
            <p:cNvGrpSpPr/>
            <p:nvPr userDrawn="1"/>
          </p:nvGrpSpPr>
          <p:grpSpPr>
            <a:xfrm>
              <a:off x="393178" y="6104180"/>
              <a:ext cx="2709468" cy="409308"/>
              <a:chOff x="393178" y="6104180"/>
              <a:chExt cx="2709468" cy="409308"/>
            </a:xfrm>
          </p:grpSpPr>
          <p:pic>
            <p:nvPicPr>
              <p:cNvPr id="8" name="Picture 7" descr="A white text on a black background&#10;&#10;Description automatically generated">
                <a:extLst>
                  <a:ext uri="{FF2B5EF4-FFF2-40B4-BE49-F238E27FC236}">
                    <a16:creationId xmlns:a16="http://schemas.microsoft.com/office/drawing/2014/main" id="{4537051D-223B-6E32-3777-4C364F59C2F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54883" y="6104180"/>
                <a:ext cx="1147763" cy="409308"/>
              </a:xfrm>
              <a:prstGeom prst="rect">
                <a:avLst/>
              </a:prstGeom>
            </p:spPr>
          </p:pic>
          <p:pic>
            <p:nvPicPr>
              <p:cNvPr id="11" name="Picture 10" descr="A black and white sign with white text&#10;&#10;Description automatically generated">
                <a:extLst>
                  <a:ext uri="{FF2B5EF4-FFF2-40B4-BE49-F238E27FC236}">
                    <a16:creationId xmlns:a16="http://schemas.microsoft.com/office/drawing/2014/main" id="{F7AC884E-523A-31FC-363E-590D5F7143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3178" y="6104180"/>
                <a:ext cx="1372567" cy="404695"/>
              </a:xfrm>
              <a:prstGeom prst="rect">
                <a:avLst/>
              </a:prstGeom>
            </p:spPr>
          </p:pic>
        </p:grpSp>
        <p:pic>
          <p:nvPicPr>
            <p:cNvPr id="23" name="Picture 22" descr="Logo&#10;&#10;Description automatically generated">
              <a:extLst>
                <a:ext uri="{FF2B5EF4-FFF2-40B4-BE49-F238E27FC236}">
                  <a16:creationId xmlns:a16="http://schemas.microsoft.com/office/drawing/2014/main" id="{CD01451D-B9A4-575A-689C-E93B5A492C6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/>
            <a:srcRect l="6351" t="10181" r="8604" b="10181"/>
            <a:stretch/>
          </p:blipFill>
          <p:spPr>
            <a:xfrm>
              <a:off x="3291784" y="6074059"/>
              <a:ext cx="1392969" cy="462287"/>
            </a:xfrm>
            <a:prstGeom prst="rect">
              <a:avLst/>
            </a:prstGeom>
          </p:spPr>
        </p:pic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E7CD926A-0F5C-0ECF-9642-8F8E53424351}"/>
              </a:ext>
            </a:extLst>
          </p:cNvPr>
          <p:cNvSpPr txBox="1">
            <a:spLocks/>
          </p:cNvSpPr>
          <p:nvPr userDrawn="1"/>
        </p:nvSpPr>
        <p:spPr>
          <a:xfrm>
            <a:off x="700410" y="2453147"/>
            <a:ext cx="7740000" cy="677798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71975AD4-6FA8-D578-437F-0259EFF35B46}"/>
              </a:ext>
            </a:extLst>
          </p:cNvPr>
          <p:cNvSpPr txBox="1">
            <a:spLocks/>
          </p:cNvSpPr>
          <p:nvPr userDrawn="1"/>
        </p:nvSpPr>
        <p:spPr>
          <a:xfrm>
            <a:off x="700410" y="3368046"/>
            <a:ext cx="5422896" cy="6777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2000" b="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Calibri" panose="020F0502020204030204" pitchFamily="34" charset="0"/>
              <a:buNone/>
              <a:tabLst/>
              <a:defRPr sz="20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Courier New" panose="02070309020205020404" pitchFamily="49" charset="0"/>
              <a:buNone/>
              <a:tabLst/>
              <a:defRPr sz="18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None/>
              <a:tabLst/>
              <a:defRPr sz="16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tabLst/>
              <a:defRPr sz="16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pic>
        <p:nvPicPr>
          <p:cNvPr id="7" name="Picture 6" descr="A white text on a black background&#10;&#10;Description automatically generated">
            <a:extLst>
              <a:ext uri="{FF2B5EF4-FFF2-40B4-BE49-F238E27FC236}">
                <a16:creationId xmlns:a16="http://schemas.microsoft.com/office/drawing/2014/main" id="{711441DB-F93A-59DF-3A7C-6994FB3E46F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726" y="1355001"/>
            <a:ext cx="3265469" cy="817839"/>
          </a:xfrm>
          <a:prstGeom prst="rect">
            <a:avLst/>
          </a:prstGeom>
        </p:spPr>
      </p:pic>
      <p:pic>
        <p:nvPicPr>
          <p:cNvPr id="10" name="Picture 9" descr="A colorful geometric shapes on a black background&#10;&#10;Description automatically generated">
            <a:extLst>
              <a:ext uri="{FF2B5EF4-FFF2-40B4-BE49-F238E27FC236}">
                <a16:creationId xmlns:a16="http://schemas.microsoft.com/office/drawing/2014/main" id="{1F3239E8-D887-F282-ACF5-A150183B1444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1382" y="3819657"/>
            <a:ext cx="5465341" cy="2846532"/>
          </a:xfrm>
          <a:prstGeom prst="rect">
            <a:avLst/>
          </a:prstGeom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397798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9" r:id="rId1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tabLst/>
        <a:defRPr sz="1800" b="0" kern="1200">
          <a:solidFill>
            <a:srgbClr val="FFFFFF"/>
          </a:solidFill>
          <a:latin typeface="+mn-lt"/>
          <a:ea typeface="+mn-ea"/>
          <a:cs typeface="+mn-cs"/>
        </a:defRPr>
      </a:lvl1pPr>
      <a:lvl2pPr marL="54000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Calibri" panose="020F0502020204030204" pitchFamily="34" charset="0"/>
        <a:buChar char="–"/>
        <a:tabLst/>
        <a:defRPr sz="1800" kern="1200">
          <a:solidFill>
            <a:srgbClr val="FFFFFF"/>
          </a:solidFill>
          <a:latin typeface="+mn-lt"/>
          <a:ea typeface="+mn-ea"/>
          <a:cs typeface="+mn-cs"/>
        </a:defRPr>
      </a:lvl2pPr>
      <a:lvl3pPr marL="809625" indent="-2762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Courier New" panose="02070309020205020404" pitchFamily="49" charset="0"/>
        <a:buChar char="o"/>
        <a:tabLst/>
        <a:defRPr sz="1800" kern="1200">
          <a:solidFill>
            <a:srgbClr val="FFFFFF"/>
          </a:solidFill>
          <a:latin typeface="+mn-lt"/>
          <a:ea typeface="+mn-ea"/>
          <a:cs typeface="+mn-cs"/>
        </a:defRPr>
      </a:lvl3pPr>
      <a:lvl4pPr marL="107950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tabLst/>
        <a:defRPr sz="1800" kern="1200">
          <a:solidFill>
            <a:srgbClr val="FFFFFF"/>
          </a:solidFill>
          <a:latin typeface="+mn-lt"/>
          <a:ea typeface="+mn-ea"/>
          <a:cs typeface="+mn-cs"/>
        </a:defRPr>
      </a:lvl4pPr>
      <a:lvl5pPr marL="1349375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tabLst/>
        <a:defRPr sz="1800" kern="1200">
          <a:solidFill>
            <a:srgbClr val="FFFFF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6">
          <p15:clr>
            <a:srgbClr val="F26B43"/>
          </p15:clr>
        </p15:guide>
        <p15:guide id="2" pos="227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4110">
          <p15:clr>
            <a:srgbClr val="F26B43"/>
          </p15:clr>
        </p15:guide>
        <p15:guide id="6" orient="horz" pos="803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1" orient="horz" pos="3997">
          <p15:clr>
            <a:srgbClr val="F26B43"/>
          </p15:clr>
        </p15:guide>
        <p15:guide id="15" orient="horz" pos="94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A0D0B54-6736-4CC4-A2C3-1C323C2BD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298348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A0D0B54-6736-4CC4-A2C3-1C323C2BD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2306" y="390526"/>
            <a:ext cx="9000000" cy="889636"/>
          </a:xfrm>
          <a:prstGeom prst="rect">
            <a:avLst/>
          </a:prstGeom>
        </p:spPr>
        <p:txBody>
          <a:bodyPr vert="horz" lIns="36000" tIns="36000" rIns="36000" bIns="36000" rtlCol="0" anchor="b">
            <a:noAutofit/>
          </a:bodyPr>
          <a:lstStyle/>
          <a:p>
            <a:r>
              <a:rPr lang="en-GB" dirty="0"/>
              <a:t>Click to edit Master title</a:t>
            </a:r>
            <a:br>
              <a:rPr lang="en-GB" dirty="0"/>
            </a:br>
            <a:r>
              <a:rPr lang="en-GB" dirty="0"/>
              <a:t>Allowance for heading to span over 2 lin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2304" y="1520825"/>
            <a:ext cx="11447391" cy="43442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82DB7DE-CC3B-5147-AE8D-3109A18759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847" y="6341952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E9CEFC6-CFD2-4D13-B235-AD9CD1297807}"/>
              </a:ext>
            </a:extLst>
          </p:cNvPr>
          <p:cNvGrpSpPr/>
          <p:nvPr userDrawn="1"/>
        </p:nvGrpSpPr>
        <p:grpSpPr>
          <a:xfrm>
            <a:off x="392400" y="6089042"/>
            <a:ext cx="4278405" cy="454972"/>
            <a:chOff x="8724550" y="591603"/>
            <a:chExt cx="4278405" cy="454972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78500E30-7857-7640-A456-05EB959AEF0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/>
            <a:stretch>
              <a:fillRect/>
            </a:stretch>
          </p:blipFill>
          <p:spPr>
            <a:xfrm>
              <a:off x="10287033" y="613665"/>
              <a:ext cx="1160644" cy="410848"/>
            </a:xfrm>
            <a:prstGeom prst="rect">
              <a:avLst/>
            </a:prstGeom>
          </p:spPr>
        </p:pic>
        <p:pic>
          <p:nvPicPr>
            <p:cNvPr id="5" name="Picture 4" descr="Logo&#10;&#10;Description automatically generated">
              <a:extLst>
                <a:ext uri="{FF2B5EF4-FFF2-40B4-BE49-F238E27FC236}">
                  <a16:creationId xmlns:a16="http://schemas.microsoft.com/office/drawing/2014/main" id="{B5C93E89-0D7A-42B0-AB90-37855FDEEC5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9"/>
            <a:srcRect l="6276" t="8926" r="8699" b="11273"/>
            <a:stretch/>
          </p:blipFill>
          <p:spPr>
            <a:xfrm>
              <a:off x="11636815" y="591603"/>
              <a:ext cx="1366140" cy="454972"/>
            </a:xfrm>
            <a:prstGeom prst="rect">
              <a:avLst/>
            </a:prstGeom>
          </p:spPr>
        </p:pic>
        <p:pic>
          <p:nvPicPr>
            <p:cNvPr id="7" name="Picture 6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2AD337E7-7788-4F64-8100-A2903520254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0"/>
            <a:stretch>
              <a:fillRect/>
            </a:stretch>
          </p:blipFill>
          <p:spPr>
            <a:xfrm>
              <a:off x="8724550" y="608161"/>
              <a:ext cx="1371600" cy="404411"/>
            </a:xfrm>
            <a:prstGeom prst="rect">
              <a:avLst/>
            </a:prstGeom>
          </p:spPr>
        </p:pic>
      </p:grpSp>
      <p:pic>
        <p:nvPicPr>
          <p:cNvPr id="4" name="Picture 3" descr="A black and grey text&#10;&#10;Description automatically generated">
            <a:extLst>
              <a:ext uri="{FF2B5EF4-FFF2-40B4-BE49-F238E27FC236}">
                <a16:creationId xmlns:a16="http://schemas.microsoft.com/office/drawing/2014/main" id="{D4165164-446B-CB8C-C3A7-1BF5C96158F3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975" y="340828"/>
            <a:ext cx="2233719" cy="559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22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802" r:id="rId13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54000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Calibri" panose="020F0502020204030204" pitchFamily="34" charset="0"/>
        <a:buChar char="–"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809625" indent="-2762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Courier New" panose="02070309020205020404" pitchFamily="49" charset="0"/>
        <a:buChar char="o"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07950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349375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6">
          <p15:clr>
            <a:srgbClr val="F26B43"/>
          </p15:clr>
        </p15:guide>
        <p15:guide id="2" pos="227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4110">
          <p15:clr>
            <a:srgbClr val="F26B43"/>
          </p15:clr>
        </p15:guide>
        <p15:guide id="6" orient="horz" pos="803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1" orient="horz" pos="3997">
          <p15:clr>
            <a:srgbClr val="F26B43"/>
          </p15:clr>
        </p15:guide>
        <p15:guide id="15" orient="horz" pos="94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A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A0D0B54-6736-4CC4-A2C3-1C323C2BD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5945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A0D0B54-6736-4CC4-A2C3-1C323C2BD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8A1F8EE3-8F11-2372-E529-99B52E98AF1E}"/>
              </a:ext>
            </a:extLst>
          </p:cNvPr>
          <p:cNvSpPr/>
          <p:nvPr userDrawn="1"/>
        </p:nvSpPr>
        <p:spPr>
          <a:xfrm>
            <a:off x="6096000" y="3176"/>
            <a:ext cx="6096000" cy="6854824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2306" y="390526"/>
            <a:ext cx="5723694" cy="889636"/>
          </a:xfrm>
          <a:prstGeom prst="rect">
            <a:avLst/>
          </a:prstGeom>
        </p:spPr>
        <p:txBody>
          <a:bodyPr vert="horz" lIns="36000" tIns="36000" rIns="36000" bIns="36000" rtlCol="0" anchor="b">
            <a:noAutofit/>
          </a:bodyPr>
          <a:lstStyle/>
          <a:p>
            <a:r>
              <a:rPr lang="en-GB" dirty="0"/>
              <a:t>Click to edit Master title</a:t>
            </a:r>
            <a:br>
              <a:rPr lang="en-GB" dirty="0"/>
            </a:br>
            <a:r>
              <a:rPr lang="en-GB" dirty="0"/>
              <a:t>Allowance for heading to span over 2 lin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2304" y="1520825"/>
            <a:ext cx="5723695" cy="43442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82DB7DE-CC3B-5147-AE8D-3109A18759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847" y="6341952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E9CEFC6-CFD2-4D13-B235-AD9CD1297807}"/>
              </a:ext>
            </a:extLst>
          </p:cNvPr>
          <p:cNvGrpSpPr/>
          <p:nvPr userDrawn="1"/>
        </p:nvGrpSpPr>
        <p:grpSpPr>
          <a:xfrm>
            <a:off x="392400" y="6089042"/>
            <a:ext cx="4278405" cy="454972"/>
            <a:chOff x="8724550" y="591603"/>
            <a:chExt cx="4278405" cy="454972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78500E30-7857-7640-A456-05EB959AEF0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/>
            <a:stretch>
              <a:fillRect/>
            </a:stretch>
          </p:blipFill>
          <p:spPr>
            <a:xfrm>
              <a:off x="10287033" y="613665"/>
              <a:ext cx="1160644" cy="410848"/>
            </a:xfrm>
            <a:prstGeom prst="rect">
              <a:avLst/>
            </a:prstGeom>
          </p:spPr>
        </p:pic>
        <p:pic>
          <p:nvPicPr>
            <p:cNvPr id="5" name="Picture 4" descr="Logo&#10;&#10;Description automatically generated">
              <a:extLst>
                <a:ext uri="{FF2B5EF4-FFF2-40B4-BE49-F238E27FC236}">
                  <a16:creationId xmlns:a16="http://schemas.microsoft.com/office/drawing/2014/main" id="{B5C93E89-0D7A-42B0-AB90-37855FDEEC5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/>
            <a:srcRect l="6276" t="8926" r="8699" b="11273"/>
            <a:stretch/>
          </p:blipFill>
          <p:spPr>
            <a:xfrm>
              <a:off x="11636815" y="591603"/>
              <a:ext cx="1366140" cy="454972"/>
            </a:xfrm>
            <a:prstGeom prst="rect">
              <a:avLst/>
            </a:prstGeom>
          </p:spPr>
        </p:pic>
        <p:pic>
          <p:nvPicPr>
            <p:cNvPr id="7" name="Picture 6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2AD337E7-7788-4F64-8100-A2903520254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3"/>
            <a:stretch>
              <a:fillRect/>
            </a:stretch>
          </p:blipFill>
          <p:spPr>
            <a:xfrm>
              <a:off x="8724550" y="608161"/>
              <a:ext cx="1371600" cy="404411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F3CA9BDF-227A-921D-9932-BE015893257E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85975" y="340828"/>
            <a:ext cx="2233718" cy="559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932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54000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Calibri" panose="020F0502020204030204" pitchFamily="34" charset="0"/>
        <a:buChar char="–"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809625" indent="-2762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Courier New" panose="02070309020205020404" pitchFamily="49" charset="0"/>
        <a:buChar char="o"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07950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Wingdings" panose="05000000000000000000" pitchFamily="2" charset="2"/>
        <a:buChar char="§"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349375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6">
          <p15:clr>
            <a:srgbClr val="F26B43"/>
          </p15:clr>
        </p15:guide>
        <p15:guide id="2" pos="227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4110">
          <p15:clr>
            <a:srgbClr val="F26B43"/>
          </p15:clr>
        </p15:guide>
        <p15:guide id="6" orient="horz" pos="803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1" orient="horz" pos="3997">
          <p15:clr>
            <a:srgbClr val="F26B43"/>
          </p15:clr>
        </p15:guide>
        <p15:guide id="15" orient="horz" pos="94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A0D0B54-6736-4CC4-A2C3-1C323C2BD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587226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A0D0B54-6736-4CC4-A2C3-1C323C2BD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A1E14FEB-6E6D-1806-CA06-C658537BDFDD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2305" y="392400"/>
            <a:ext cx="5723695" cy="889636"/>
          </a:xfrm>
          <a:prstGeom prst="rect">
            <a:avLst/>
          </a:prstGeom>
        </p:spPr>
        <p:txBody>
          <a:bodyPr vert="horz" lIns="36000" tIns="36000" rIns="36000" bIns="36000" rtlCol="0" anchor="b">
            <a:noAutofit/>
          </a:bodyPr>
          <a:lstStyle/>
          <a:p>
            <a:r>
              <a:rPr lang="en-GB" dirty="0"/>
              <a:t>Click to edit Master title</a:t>
            </a:r>
            <a:br>
              <a:rPr lang="en-GB" dirty="0"/>
            </a:br>
            <a:r>
              <a:rPr lang="en-GB" dirty="0"/>
              <a:t>Allowance for heading to span over 2 lin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2304" y="1522800"/>
            <a:ext cx="11447391" cy="434426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82DB7DE-CC3B-5147-AE8D-3109A18759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5847" y="6341952"/>
            <a:ext cx="323849" cy="180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| </a:t>
            </a:r>
            <a:fld id="{A134C65A-A9BE-9F48-B07C-F2CA02A2F78A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26F138D-A5C8-193F-0021-AACB2978F251}"/>
              </a:ext>
            </a:extLst>
          </p:cNvPr>
          <p:cNvGrpSpPr/>
          <p:nvPr userDrawn="1"/>
        </p:nvGrpSpPr>
        <p:grpSpPr>
          <a:xfrm>
            <a:off x="393178" y="6074059"/>
            <a:ext cx="4291575" cy="462287"/>
            <a:chOff x="393178" y="6074059"/>
            <a:chExt cx="4291575" cy="462287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27401055-1EFD-B807-91E3-BE38DB538E1E}"/>
                </a:ext>
              </a:extLst>
            </p:cNvPr>
            <p:cNvGrpSpPr/>
            <p:nvPr userDrawn="1"/>
          </p:nvGrpSpPr>
          <p:grpSpPr>
            <a:xfrm>
              <a:off x="393178" y="6104180"/>
              <a:ext cx="2709468" cy="409308"/>
              <a:chOff x="393178" y="6104180"/>
              <a:chExt cx="2709468" cy="409308"/>
            </a:xfrm>
          </p:grpSpPr>
          <p:pic>
            <p:nvPicPr>
              <p:cNvPr id="8" name="Picture 7" descr="A white text on a black background&#10;&#10;Description automatically generated">
                <a:extLst>
                  <a:ext uri="{FF2B5EF4-FFF2-40B4-BE49-F238E27FC236}">
                    <a16:creationId xmlns:a16="http://schemas.microsoft.com/office/drawing/2014/main" id="{4537051D-223B-6E32-3777-4C364F59C2FC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54883" y="6104180"/>
                <a:ext cx="1147763" cy="409308"/>
              </a:xfrm>
              <a:prstGeom prst="rect">
                <a:avLst/>
              </a:prstGeom>
            </p:spPr>
          </p:pic>
          <p:pic>
            <p:nvPicPr>
              <p:cNvPr id="11" name="Picture 10" descr="A black and white sign with white text&#10;&#10;Description automatically generated">
                <a:extLst>
                  <a:ext uri="{FF2B5EF4-FFF2-40B4-BE49-F238E27FC236}">
                    <a16:creationId xmlns:a16="http://schemas.microsoft.com/office/drawing/2014/main" id="{F7AC884E-523A-31FC-363E-590D5F71438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3178" y="6104180"/>
                <a:ext cx="1372567" cy="404695"/>
              </a:xfrm>
              <a:prstGeom prst="rect">
                <a:avLst/>
              </a:prstGeom>
            </p:spPr>
          </p:pic>
        </p:grpSp>
        <p:pic>
          <p:nvPicPr>
            <p:cNvPr id="23" name="Picture 22" descr="Logo&#10;&#10;Description automatically generated">
              <a:extLst>
                <a:ext uri="{FF2B5EF4-FFF2-40B4-BE49-F238E27FC236}">
                  <a16:creationId xmlns:a16="http://schemas.microsoft.com/office/drawing/2014/main" id="{CD01451D-B9A4-575A-689C-E93B5A492C6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3"/>
            <a:srcRect l="6351" t="10181" r="8604" b="10181"/>
            <a:stretch/>
          </p:blipFill>
          <p:spPr>
            <a:xfrm>
              <a:off x="3291784" y="6074059"/>
              <a:ext cx="1392969" cy="462287"/>
            </a:xfrm>
            <a:prstGeom prst="rect">
              <a:avLst/>
            </a:prstGeom>
          </p:spPr>
        </p:pic>
      </p:grpSp>
      <p:pic>
        <p:nvPicPr>
          <p:cNvPr id="15" name="Picture 14" descr="A black and grey text&#10;&#10;Description automatically generated">
            <a:extLst>
              <a:ext uri="{FF2B5EF4-FFF2-40B4-BE49-F238E27FC236}">
                <a16:creationId xmlns:a16="http://schemas.microsoft.com/office/drawing/2014/main" id="{220EC9D1-ED74-61DB-1ECA-D4D10475AD58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5975" y="340828"/>
            <a:ext cx="2233719" cy="559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62013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269875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tabLst/>
        <a:defRPr sz="1800" b="0" kern="1200">
          <a:solidFill>
            <a:srgbClr val="FFFFFF"/>
          </a:solidFill>
          <a:latin typeface="+mn-lt"/>
          <a:ea typeface="+mn-ea"/>
          <a:cs typeface="+mn-cs"/>
        </a:defRPr>
      </a:lvl1pPr>
      <a:lvl2pPr marL="54000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Calibri" panose="020F0502020204030204" pitchFamily="34" charset="0"/>
        <a:buChar char="–"/>
        <a:tabLst/>
        <a:defRPr sz="1800" kern="1200">
          <a:solidFill>
            <a:srgbClr val="FFFFFF"/>
          </a:solidFill>
          <a:latin typeface="+mn-lt"/>
          <a:ea typeface="+mn-ea"/>
          <a:cs typeface="+mn-cs"/>
        </a:defRPr>
      </a:lvl2pPr>
      <a:lvl3pPr marL="809625" indent="-2762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Courier New" panose="02070309020205020404" pitchFamily="49" charset="0"/>
        <a:buChar char="o"/>
        <a:tabLst/>
        <a:defRPr sz="1800" kern="1200">
          <a:solidFill>
            <a:srgbClr val="FFFFFF"/>
          </a:solidFill>
          <a:latin typeface="+mn-lt"/>
          <a:ea typeface="+mn-ea"/>
          <a:cs typeface="+mn-cs"/>
        </a:defRPr>
      </a:lvl3pPr>
      <a:lvl4pPr marL="1079500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Wingdings" panose="05000000000000000000" pitchFamily="2" charset="2"/>
        <a:buChar char="§"/>
        <a:tabLst/>
        <a:defRPr sz="1800" kern="1200">
          <a:solidFill>
            <a:srgbClr val="FFFFFF"/>
          </a:solidFill>
          <a:latin typeface="+mn-lt"/>
          <a:ea typeface="+mn-ea"/>
          <a:cs typeface="+mn-cs"/>
        </a:defRPr>
      </a:lvl4pPr>
      <a:lvl5pPr marL="1349375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tabLst/>
        <a:defRPr sz="1800" kern="1200">
          <a:solidFill>
            <a:srgbClr val="FFFFF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6">
          <p15:clr>
            <a:srgbClr val="F26B43"/>
          </p15:clr>
        </p15:guide>
        <p15:guide id="2" pos="227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4110">
          <p15:clr>
            <a:srgbClr val="F26B43"/>
          </p15:clr>
        </p15:guide>
        <p15:guide id="6" orient="horz" pos="803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1" orient="horz" pos="3997">
          <p15:clr>
            <a:srgbClr val="F26B43"/>
          </p15:clr>
        </p15:guide>
        <p15:guide id="15" orient="horz" pos="94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18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9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10" Type="http://schemas.openxmlformats.org/officeDocument/2006/relationships/image" Target="../media/image13.png"/><Relationship Id="rId4" Type="http://schemas.openxmlformats.org/officeDocument/2006/relationships/image" Target="../media/image1.emf"/><Relationship Id="rId9" Type="http://schemas.microsoft.com/office/2007/relationships/diagramDrawing" Target="../diagrams/drawin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5AF82A4-72E9-403F-2669-5B26657C6D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8660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AF82A4-72E9-403F-2669-5B26657C6D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7CC9742-F7F9-F195-246F-F14683C44C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| </a:t>
            </a:r>
            <a:fld id="{A134C65A-A9BE-9F48-B07C-F2CA02A2F78A}" type="slidenum">
              <a:rPr lang="en-US" smtClean="0"/>
              <a:pPr/>
              <a:t>1</a:t>
            </a:fld>
            <a:endParaRPr lang="en-US" dirty="0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B6351BF8-4E23-42BD-B571-F7DAE755E6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0667088"/>
              </p:ext>
            </p:extLst>
          </p:nvPr>
        </p:nvGraphicFramePr>
        <p:xfrm>
          <a:off x="278982" y="167363"/>
          <a:ext cx="1121686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FBA11E6-448B-4A8E-1816-3D841FEE1DD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30950" y="1543316"/>
            <a:ext cx="482170" cy="48217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998AD7E-A459-24C8-419B-1B71077B0383}"/>
              </a:ext>
            </a:extLst>
          </p:cNvPr>
          <p:cNvSpPr txBox="1"/>
          <p:nvPr/>
        </p:nvSpPr>
        <p:spPr>
          <a:xfrm>
            <a:off x="3564419" y="1173023"/>
            <a:ext cx="1582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tx2"/>
                </a:solidFill>
              </a:rPr>
              <a:t>~2 week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610CC8-77F8-E8E1-82D7-50F04F9A36DA}"/>
              </a:ext>
            </a:extLst>
          </p:cNvPr>
          <p:cNvSpPr txBox="1"/>
          <p:nvPr/>
        </p:nvSpPr>
        <p:spPr>
          <a:xfrm>
            <a:off x="6600274" y="1167125"/>
            <a:ext cx="1582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tx2"/>
                </a:solidFill>
              </a:rPr>
              <a:t>~2 week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3F9C338-1A9C-ECAE-5A84-FE01F0601F9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50453" y="1543316"/>
            <a:ext cx="482170" cy="482170"/>
          </a:xfrm>
          <a:prstGeom prst="rect">
            <a:avLst/>
          </a:prstGeom>
        </p:spPr>
      </p:pic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410BF12-EAE2-9E12-CBC1-03DF8775D57E}"/>
              </a:ext>
            </a:extLst>
          </p:cNvPr>
          <p:cNvSpPr/>
          <p:nvPr/>
        </p:nvSpPr>
        <p:spPr>
          <a:xfrm>
            <a:off x="278983" y="4852818"/>
            <a:ext cx="2295774" cy="1093304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ysClr val="windowText" lastClr="000000"/>
                </a:solidFill>
              </a:rPr>
              <a:t>Email completed group charter to:  </a:t>
            </a:r>
            <a:r>
              <a:rPr lang="en-GB" sz="1400" u="sng" dirty="0">
                <a:solidFill>
                  <a:sysClr val="windowText" lastClr="000000"/>
                </a:solidFill>
              </a:rPr>
              <a:t>enquiries@dareuk.org.uk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E03874A1-734C-209E-183E-9F2FA7EC7C73}"/>
              </a:ext>
            </a:extLst>
          </p:cNvPr>
          <p:cNvCxnSpPr>
            <a:cxnSpLocks/>
          </p:cNvCxnSpPr>
          <p:nvPr/>
        </p:nvCxnSpPr>
        <p:spPr>
          <a:xfrm flipV="1">
            <a:off x="1352394" y="3601371"/>
            <a:ext cx="0" cy="1093304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D4164D7-2958-C7B3-130A-D99127A57FE1}"/>
              </a:ext>
            </a:extLst>
          </p:cNvPr>
          <p:cNvSpPr/>
          <p:nvPr/>
        </p:nvSpPr>
        <p:spPr>
          <a:xfrm>
            <a:off x="4814001" y="4847166"/>
            <a:ext cx="2146823" cy="1093304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ysClr val="windowText" lastClr="000000"/>
                </a:solidFill>
              </a:rPr>
              <a:t>Possible revision and/or clarifications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D0E3A57-93D1-321D-5F11-E8DAC178C93F}"/>
              </a:ext>
            </a:extLst>
          </p:cNvPr>
          <p:cNvCxnSpPr>
            <a:cxnSpLocks/>
          </p:cNvCxnSpPr>
          <p:nvPr/>
        </p:nvCxnSpPr>
        <p:spPr>
          <a:xfrm>
            <a:off x="10408631" y="3607023"/>
            <a:ext cx="0" cy="1093304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98A286EA-1C1D-F2C8-401D-D516502A15BC}"/>
              </a:ext>
            </a:extLst>
          </p:cNvPr>
          <p:cNvSpPr/>
          <p:nvPr/>
        </p:nvSpPr>
        <p:spPr>
          <a:xfrm>
            <a:off x="9349022" y="4852818"/>
            <a:ext cx="2146823" cy="1093304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ysClr val="windowText" lastClr="000000"/>
                </a:solidFill>
              </a:rPr>
              <a:t>Confirmation of decision via email</a:t>
            </a: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12F21B8F-C81F-1E7C-E8F5-2904102CBCD3}"/>
              </a:ext>
            </a:extLst>
          </p:cNvPr>
          <p:cNvCxnSpPr>
            <a:cxnSpLocks/>
            <a:stCxn id="13" idx="1"/>
          </p:cNvCxnSpPr>
          <p:nvPr/>
        </p:nvCxnSpPr>
        <p:spPr>
          <a:xfrm rot="10800000">
            <a:off x="4307277" y="3659864"/>
            <a:ext cx="506724" cy="1733954"/>
          </a:xfrm>
          <a:prstGeom prst="bentConnector2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CA751B89-98A2-745E-FC36-64321DF3C927}"/>
              </a:ext>
            </a:extLst>
          </p:cNvPr>
          <p:cNvCxnSpPr>
            <a:cxnSpLocks/>
            <a:stCxn id="13" idx="3"/>
          </p:cNvCxnSpPr>
          <p:nvPr/>
        </p:nvCxnSpPr>
        <p:spPr>
          <a:xfrm flipV="1">
            <a:off x="6960824" y="3659864"/>
            <a:ext cx="506725" cy="1733954"/>
          </a:xfrm>
          <a:prstGeom prst="bentConnector2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4026E099-B14E-C38D-41FF-818F93BA26F9}"/>
              </a:ext>
            </a:extLst>
          </p:cNvPr>
          <p:cNvSpPr txBox="1"/>
          <p:nvPr/>
        </p:nvSpPr>
        <p:spPr>
          <a:xfrm>
            <a:off x="421105" y="167363"/>
            <a:ext cx="56748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2000" dirty="0">
                <a:solidFill>
                  <a:schemeClr val="tx2"/>
                </a:solidFill>
              </a:rPr>
              <a:t>IG/WG endorsement process</a:t>
            </a:r>
          </a:p>
        </p:txBody>
      </p:sp>
    </p:spTree>
    <p:extLst>
      <p:ext uri="{BB962C8B-B14F-4D97-AF65-F5344CB8AC3E}">
        <p14:creationId xmlns:p14="http://schemas.microsoft.com/office/powerpoint/2010/main" val="34976433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DARE UK 2">
  <a:themeElements>
    <a:clrScheme name="DARE UK Theme Colours">
      <a:dk1>
        <a:srgbClr val="282832"/>
      </a:dk1>
      <a:lt1>
        <a:srgbClr val="FAFAFA"/>
      </a:lt1>
      <a:dk2>
        <a:srgbClr val="000000"/>
      </a:dk2>
      <a:lt2>
        <a:srgbClr val="FAFAFA"/>
      </a:lt2>
      <a:accent1>
        <a:srgbClr val="282832"/>
      </a:accent1>
      <a:accent2>
        <a:srgbClr val="00DCFF"/>
      </a:accent2>
      <a:accent3>
        <a:srgbClr val="FF7A94"/>
      </a:accent3>
      <a:accent4>
        <a:srgbClr val="FFCE64"/>
      </a:accent4>
      <a:accent5>
        <a:srgbClr val="00DBA8"/>
      </a:accent5>
      <a:accent6>
        <a:srgbClr val="4866FA"/>
      </a:accent6>
      <a:hlink>
        <a:srgbClr val="967CFF"/>
      </a:hlink>
      <a:folHlink>
        <a:srgbClr val="967CFF"/>
      </a:folHlink>
    </a:clrScheme>
    <a:fontScheme name="DARE UK Font">
      <a:majorFont>
        <a:latin typeface="Lato"/>
        <a:ea typeface=""/>
        <a:cs typeface=""/>
      </a:majorFont>
      <a:minorFont>
        <a:latin typeface="Lato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DR UK Powerpoint template widescreen_bluetext" id="{F260CD41-FBCF-1249-A6F6-64DA974EC9FE}" vid="{AAC46210-85EE-5242-BAB9-C234C3EB4F6B}"/>
    </a:ext>
  </a:extLst>
</a:theme>
</file>

<file path=ppt/theme/theme2.xml><?xml version="1.0" encoding="utf-8"?>
<a:theme xmlns:a="http://schemas.openxmlformats.org/drawingml/2006/main" name="2_DARE UK 2">
  <a:themeElements>
    <a:clrScheme name="DARE UK Theme Colours">
      <a:dk1>
        <a:srgbClr val="282832"/>
      </a:dk1>
      <a:lt1>
        <a:srgbClr val="FAFAFA"/>
      </a:lt1>
      <a:dk2>
        <a:srgbClr val="000000"/>
      </a:dk2>
      <a:lt2>
        <a:srgbClr val="FAFAFA"/>
      </a:lt2>
      <a:accent1>
        <a:srgbClr val="282832"/>
      </a:accent1>
      <a:accent2>
        <a:srgbClr val="00DCFF"/>
      </a:accent2>
      <a:accent3>
        <a:srgbClr val="FF7A94"/>
      </a:accent3>
      <a:accent4>
        <a:srgbClr val="FFCE64"/>
      </a:accent4>
      <a:accent5>
        <a:srgbClr val="00DBA8"/>
      </a:accent5>
      <a:accent6>
        <a:srgbClr val="4866FA"/>
      </a:accent6>
      <a:hlink>
        <a:srgbClr val="967CFF"/>
      </a:hlink>
      <a:folHlink>
        <a:srgbClr val="967CFF"/>
      </a:folHlink>
    </a:clrScheme>
    <a:fontScheme name="DARE UK Font">
      <a:majorFont>
        <a:latin typeface="Lato"/>
        <a:ea typeface=""/>
        <a:cs typeface=""/>
      </a:majorFont>
      <a:minorFont>
        <a:latin typeface="Lato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DR UK Powerpoint template widescreen_bluetext" id="{F260CD41-FBCF-1249-A6F6-64DA974EC9FE}" vid="{AAC46210-85EE-5242-BAB9-C234C3EB4F6B}"/>
    </a:ext>
  </a:extLst>
</a:theme>
</file>

<file path=ppt/theme/theme3.xml><?xml version="1.0" encoding="utf-8"?>
<a:theme xmlns:a="http://schemas.openxmlformats.org/drawingml/2006/main" name="2_DARE UK">
  <a:themeElements>
    <a:clrScheme name="DARE UK Theme Colours">
      <a:dk1>
        <a:srgbClr val="282832"/>
      </a:dk1>
      <a:lt1>
        <a:srgbClr val="FAFAFA"/>
      </a:lt1>
      <a:dk2>
        <a:srgbClr val="000000"/>
      </a:dk2>
      <a:lt2>
        <a:srgbClr val="FAFAFA"/>
      </a:lt2>
      <a:accent1>
        <a:srgbClr val="282832"/>
      </a:accent1>
      <a:accent2>
        <a:srgbClr val="00DCFF"/>
      </a:accent2>
      <a:accent3>
        <a:srgbClr val="FF7A94"/>
      </a:accent3>
      <a:accent4>
        <a:srgbClr val="FFCE64"/>
      </a:accent4>
      <a:accent5>
        <a:srgbClr val="00DBA8"/>
      </a:accent5>
      <a:accent6>
        <a:srgbClr val="4866FA"/>
      </a:accent6>
      <a:hlink>
        <a:srgbClr val="967CFF"/>
      </a:hlink>
      <a:folHlink>
        <a:srgbClr val="BFB0FF"/>
      </a:folHlink>
    </a:clrScheme>
    <a:fontScheme name="DARE UK Font">
      <a:majorFont>
        <a:latin typeface="Lato"/>
        <a:ea typeface=""/>
        <a:cs typeface=""/>
      </a:majorFont>
      <a:minorFont>
        <a:latin typeface="Lato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DR UK Powerpoint template widescreen_bluetext" id="{F260CD41-FBCF-1249-A6F6-64DA974EC9FE}" vid="{AAC46210-85EE-5242-BAB9-C234C3EB4F6B}"/>
    </a:ext>
  </a:extLst>
</a:theme>
</file>

<file path=ppt/theme/theme4.xml><?xml version="1.0" encoding="utf-8"?>
<a:theme xmlns:a="http://schemas.openxmlformats.org/drawingml/2006/main" name="1_DARE UK">
  <a:themeElements>
    <a:clrScheme name="DARE UK Theme Colours">
      <a:dk1>
        <a:srgbClr val="282832"/>
      </a:dk1>
      <a:lt1>
        <a:srgbClr val="FAFAFA"/>
      </a:lt1>
      <a:dk2>
        <a:srgbClr val="000000"/>
      </a:dk2>
      <a:lt2>
        <a:srgbClr val="FAFAFA"/>
      </a:lt2>
      <a:accent1>
        <a:srgbClr val="282832"/>
      </a:accent1>
      <a:accent2>
        <a:srgbClr val="00DCFF"/>
      </a:accent2>
      <a:accent3>
        <a:srgbClr val="FF7A94"/>
      </a:accent3>
      <a:accent4>
        <a:srgbClr val="FFCE64"/>
      </a:accent4>
      <a:accent5>
        <a:srgbClr val="00DBA8"/>
      </a:accent5>
      <a:accent6>
        <a:srgbClr val="4866FA"/>
      </a:accent6>
      <a:hlink>
        <a:srgbClr val="967CFF"/>
      </a:hlink>
      <a:folHlink>
        <a:srgbClr val="BFB0FF"/>
      </a:folHlink>
    </a:clrScheme>
    <a:fontScheme name="DARE UK Font">
      <a:majorFont>
        <a:latin typeface="Lato"/>
        <a:ea typeface=""/>
        <a:cs typeface=""/>
      </a:majorFont>
      <a:minorFont>
        <a:latin typeface="Lato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DR UK Powerpoint template widescreen_bluetext" id="{F260CD41-FBCF-1249-A6F6-64DA974EC9FE}" vid="{AAC46210-85EE-5242-BAB9-C234C3EB4F6B}"/>
    </a:ext>
  </a:extLst>
</a:theme>
</file>

<file path=ppt/theme/theme5.xml><?xml version="1.0" encoding="utf-8"?>
<a:theme xmlns:a="http://schemas.openxmlformats.org/drawingml/2006/main" name="1_DARE UK 2">
  <a:themeElements>
    <a:clrScheme name="DARE UK Theme Colours">
      <a:dk1>
        <a:srgbClr val="282832"/>
      </a:dk1>
      <a:lt1>
        <a:srgbClr val="FAFAFA"/>
      </a:lt1>
      <a:dk2>
        <a:srgbClr val="000000"/>
      </a:dk2>
      <a:lt2>
        <a:srgbClr val="FAFAFA"/>
      </a:lt2>
      <a:accent1>
        <a:srgbClr val="282832"/>
      </a:accent1>
      <a:accent2>
        <a:srgbClr val="00DCFF"/>
      </a:accent2>
      <a:accent3>
        <a:srgbClr val="FF7A94"/>
      </a:accent3>
      <a:accent4>
        <a:srgbClr val="FFCE64"/>
      </a:accent4>
      <a:accent5>
        <a:srgbClr val="00DBA8"/>
      </a:accent5>
      <a:accent6>
        <a:srgbClr val="4866FA"/>
      </a:accent6>
      <a:hlink>
        <a:srgbClr val="967CFF"/>
      </a:hlink>
      <a:folHlink>
        <a:srgbClr val="967CFF"/>
      </a:folHlink>
    </a:clrScheme>
    <a:fontScheme name="DARE UK Font">
      <a:majorFont>
        <a:latin typeface="Lato"/>
        <a:ea typeface=""/>
        <a:cs typeface=""/>
      </a:majorFont>
      <a:minorFont>
        <a:latin typeface="Lato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20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DR UK Powerpoint template widescreen_bluetext" id="{F260CD41-FBCF-1249-A6F6-64DA974EC9FE}" vid="{AAC46210-85EE-5242-BAB9-C234C3EB4F6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6FE055041E8254B8A6D76B64478F329" ma:contentTypeVersion="13" ma:contentTypeDescription="Create a new document." ma:contentTypeScope="" ma:versionID="47314adb7fd75eef9a5dbd6b479ebcdd">
  <xsd:schema xmlns:xsd="http://www.w3.org/2001/XMLSchema" xmlns:xs="http://www.w3.org/2001/XMLSchema" xmlns:p="http://schemas.microsoft.com/office/2006/metadata/properties" xmlns:ns2="5cd17271-0186-4a94-a8e5-2a85c0fb5d22" xmlns:ns3="bc82aed4-c161-4654-bb9f-d351edfac1aa" targetNamespace="http://schemas.microsoft.com/office/2006/metadata/properties" ma:root="true" ma:fieldsID="28a798ca4bfb1d8b86fec74e502c4dc1" ns2:_="" ns3:_="">
    <xsd:import namespace="5cd17271-0186-4a94-a8e5-2a85c0fb5d22"/>
    <xsd:import namespace="bc82aed4-c161-4654-bb9f-d351edfac1a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d17271-0186-4a94-a8e5-2a85c0fb5d2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82aed4-c161-4654-bb9f-d351edfac1aa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A5EBE93-1AEA-4822-8EA4-A516BB32D3A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B00BD87-3F09-49BB-BD8D-1E6DB6BCF77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cd17271-0186-4a94-a8e5-2a85c0fb5d22"/>
    <ds:schemaRef ds:uri="bc82aed4-c161-4654-bb9f-d351edfac1a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AFAE188-19BF-432B-B088-4838F90CD5DE}">
  <ds:schemaRefs>
    <ds:schemaRef ds:uri="http://schemas.microsoft.com/office/infopath/2007/PartnerControls"/>
    <ds:schemaRef ds:uri="http://schemas.openxmlformats.org/package/2006/metadata/core-properties"/>
    <ds:schemaRef ds:uri="bc82aed4-c161-4654-bb9f-d351edfac1aa"/>
    <ds:schemaRef ds:uri="http://schemas.microsoft.com/office/2006/documentManagement/types"/>
    <ds:schemaRef ds:uri="http://purl.org/dc/elements/1.1/"/>
    <ds:schemaRef ds:uri="http://purl.org/dc/dcmitype/"/>
    <ds:schemaRef ds:uri="http://purl.org/dc/terms/"/>
    <ds:schemaRef ds:uri="5cd17271-0186-4a94-a8e5-2a85c0fb5d22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DRUK_final</Template>
  <TotalTime>32288</TotalTime>
  <Words>62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Arial</vt:lpstr>
      <vt:lpstr>Calibri</vt:lpstr>
      <vt:lpstr>Courier New</vt:lpstr>
      <vt:lpstr>Lato</vt:lpstr>
      <vt:lpstr>Wingdings</vt:lpstr>
      <vt:lpstr>3_DARE UK 2</vt:lpstr>
      <vt:lpstr>2_DARE UK 2</vt:lpstr>
      <vt:lpstr>2_DARE UK</vt:lpstr>
      <vt:lpstr>1_DARE UK</vt:lpstr>
      <vt:lpstr>1_DARE UK 2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ublic and Patient Engagement and Involvement for Researchers</dc:title>
  <dc:creator>Judy Slape</dc:creator>
  <cp:lastModifiedBy>Balint Stewart</cp:lastModifiedBy>
  <cp:revision>858</cp:revision>
  <dcterms:created xsi:type="dcterms:W3CDTF">2021-01-08T10:34:48Z</dcterms:created>
  <dcterms:modified xsi:type="dcterms:W3CDTF">2024-10-09T09:15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6FE055041E8254B8A6D76B64478F329</vt:lpwstr>
  </property>
</Properties>
</file>